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heme/theme5.xml" ContentType="application/vnd.openxmlformats-officedocument.theme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notesSlides/notesSlide1.xml" ContentType="application/vnd.openxmlformats-officedocument.presentationml.notesSlide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79" r:id="rId2"/>
    <p:sldMasterId id="2147483696" r:id="rId3"/>
    <p:sldMasterId id="2147483713" r:id="rId4"/>
  </p:sldMasterIdLst>
  <p:notesMasterIdLst>
    <p:notesMasterId r:id="rId26"/>
  </p:notesMasterIdLst>
  <p:sldIdLst>
    <p:sldId id="256" r:id="rId5"/>
    <p:sldId id="300" r:id="rId6"/>
    <p:sldId id="297" r:id="rId7"/>
    <p:sldId id="298" r:id="rId8"/>
    <p:sldId id="299" r:id="rId9"/>
    <p:sldId id="292" r:id="rId10"/>
    <p:sldId id="296" r:id="rId11"/>
    <p:sldId id="295" r:id="rId12"/>
    <p:sldId id="301" r:id="rId13"/>
    <p:sldId id="280" r:id="rId14"/>
    <p:sldId id="281" r:id="rId15"/>
    <p:sldId id="279" r:id="rId16"/>
    <p:sldId id="290" r:id="rId17"/>
    <p:sldId id="288" r:id="rId18"/>
    <p:sldId id="289" r:id="rId19"/>
    <p:sldId id="286" r:id="rId20"/>
    <p:sldId id="285" r:id="rId21"/>
    <p:sldId id="302" r:id="rId22"/>
    <p:sldId id="294" r:id="rId23"/>
    <p:sldId id="293" r:id="rId24"/>
    <p:sldId id="269" r:id="rId25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1F22"/>
    <a:srgbClr val="7C1618"/>
    <a:srgbClr val="8A181B"/>
    <a:srgbClr val="971A1E"/>
    <a:srgbClr val="CBCBCB"/>
    <a:srgbClr val="F5F5F7"/>
    <a:srgbClr val="FFFFFF"/>
    <a:srgbClr val="E9EAEE"/>
    <a:srgbClr val="BBAC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70" autoAdjust="0"/>
    <p:restoredTop sz="95267" autoAdjust="0"/>
  </p:normalViewPr>
  <p:slideViewPr>
    <p:cSldViewPr>
      <p:cViewPr varScale="1">
        <p:scale>
          <a:sx n="110" d="100"/>
          <a:sy n="110" d="100"/>
        </p:scale>
        <p:origin x="499" y="77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182481751824817E-2"/>
          <c:y val="0.20803443328550933"/>
          <c:w val="0.96963503649635041"/>
          <c:h val="0.7173601147776184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9.7560975609756101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1AF9-4F11-A9F9-B9E2C0B8A822}"/>
                </c:ext>
              </c:extLst>
            </c:dLbl>
            <c:dLbl>
              <c:idx val="1"/>
              <c:layout>
                <c:manualLayout>
                  <c:x val="0"/>
                  <c:y val="-9.7560975609756101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1AF9-4F11-A9F9-B9E2C0B8A822}"/>
                </c:ext>
              </c:extLst>
            </c:dLbl>
            <c:dLbl>
              <c:idx val="2"/>
              <c:layout>
                <c:manualLayout>
                  <c:x val="0"/>
                  <c:y val="-9.7560975609756101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1AF9-4F11-A9F9-B9E2C0B8A8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5</c:v>
                </c:pt>
                <c:pt idx="1">
                  <c:v>5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AF9-4F11-A9F9-B9E2C0B8A822}"/>
            </c:ext>
          </c:extLst>
        </c:ser>
        <c:ser>
          <c:idx val="1"/>
          <c:order val="1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64849354375896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1AF9-4F11-A9F9-B9E2C0B8A822}"/>
                </c:ext>
              </c:extLst>
            </c:dLbl>
            <c:dLbl>
              <c:idx val="1"/>
              <c:layout>
                <c:manualLayout>
                  <c:x val="0"/>
                  <c:y val="-0.24677187948350071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1AF9-4F11-A9F9-B9E2C0B8A822}"/>
                </c:ext>
              </c:extLst>
            </c:dLbl>
            <c:dLbl>
              <c:idx val="2"/>
              <c:layout>
                <c:manualLayout>
                  <c:x val="0"/>
                  <c:y val="-2.1520803443328552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1AF9-4F11-A9F9-B9E2C0B8A8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28</c:v>
                </c:pt>
                <c:pt idx="1">
                  <c:v>11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AF9-4F11-A9F9-B9E2C0B8A8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77117519"/>
        <c:axId val="1"/>
      </c:barChart>
      <c:catAx>
        <c:axId val="1677117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771175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182481751824817E-2"/>
          <c:y val="0.20803443328550933"/>
          <c:w val="0.96963503649635041"/>
          <c:h val="0.717360114777618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8.8952654232424683E-2"/>
                </c:manualLayout>
              </c:layout>
              <c:numFmt formatCode="#,##0&quot;X&quot;;&quot;-&quot;#,##0&quot;X&quot;;0&quot;X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E4E3-42F9-9C97-1D5E2E8113F3}"/>
                </c:ext>
              </c:extLst>
            </c:dLbl>
            <c:dLbl>
              <c:idx val="1"/>
              <c:layout>
                <c:manualLayout>
                  <c:x val="0"/>
                  <c:y val="-0.10186513629842181"/>
                </c:manualLayout>
              </c:layout>
              <c:numFmt formatCode="#,##0&quot;X&quot;;&quot;-&quot;#,##0&quot;X&quot;;0&quot;X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E4E3-42F9-9C97-1D5E2E8113F3}"/>
                </c:ext>
              </c:extLst>
            </c:dLbl>
            <c:dLbl>
              <c:idx val="2"/>
              <c:layout>
                <c:manualLayout>
                  <c:x val="0"/>
                  <c:y val="-0.16499282639885221"/>
                </c:manualLayout>
              </c:layout>
              <c:numFmt formatCode="#,##0&quot;X&quot;;&quot;-&quot;#,##0&quot;X&quot;;0&quot;X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E4E3-42F9-9C97-1D5E2E8113F3}"/>
                </c:ext>
              </c:extLst>
            </c:dLbl>
            <c:dLbl>
              <c:idx val="3"/>
              <c:layout>
                <c:manualLayout>
                  <c:x val="0"/>
                  <c:y val="-0.4648493543758967"/>
                </c:manualLayout>
              </c:layout>
              <c:numFmt formatCode="#,##0&quot;X&quot;;&quot;-&quot;#,##0&quot;X&quot;;0&quot;X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E4E3-42F9-9C97-1D5E2E8113F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10</c:v>
                </c:pt>
                <c:pt idx="3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E3-42F9-9C97-1D5E2E8113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1856054303"/>
        <c:axId val="1"/>
      </c:barChart>
      <c:catAx>
        <c:axId val="18560543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560543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47565543071161E-2"/>
          <c:y val="6.5906210392902412E-2"/>
          <c:w val="0.96104868913857677"/>
          <c:h val="0.8681875792141952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6A9-4705-B55B-CAB4097378DD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6A9-4705-B55B-CAB4097378DD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6A9-4705-B55B-CAB4097378DD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6A9-4705-B55B-CAB4097378DD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6A9-4705-B55B-CAB4097378DD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6A9-4705-B55B-CAB4097378DD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6A9-4705-B55B-CAB4097378DD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6A9-4705-B55B-CAB4097378DD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6A9-4705-B55B-CAB4097378DD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6A9-4705-B55B-CAB4097378DD}"/>
              </c:ext>
            </c:extLst>
          </c:dPt>
          <c:xVal>
            <c:numRef>
              <c:f>Sheet1!$A$1:$L$1</c:f>
              <c:numCache>
                <c:formatCode>General</c:formatCode>
                <c:ptCount val="12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  <c:pt idx="11">
                  <c:v>15340</c:v>
                </c:pt>
              </c:numCache>
            </c:numRef>
          </c:xVal>
          <c:yVal>
            <c:numRef>
              <c:f>Sheet1!$A$2:$L$2</c:f>
              <c:numCache>
                <c:formatCode>General</c:formatCode>
                <c:ptCount val="12"/>
                <c:pt idx="0">
                  <c:v>83.104690000000005</c:v>
                </c:pt>
                <c:pt idx="1">
                  <c:v>84.296030000000002</c:v>
                </c:pt>
                <c:pt idx="2">
                  <c:v>86.353790000000004</c:v>
                </c:pt>
                <c:pt idx="3">
                  <c:v>86.786407373461017</c:v>
                </c:pt>
                <c:pt idx="4">
                  <c:v>87.220209999999994</c:v>
                </c:pt>
                <c:pt idx="5">
                  <c:v>88.411550000000005</c:v>
                </c:pt>
                <c:pt idx="6">
                  <c:v>89.277974999999998</c:v>
                </c:pt>
                <c:pt idx="7">
                  <c:v>90.144400000000005</c:v>
                </c:pt>
                <c:pt idx="8">
                  <c:v>92.093860000000006</c:v>
                </c:pt>
                <c:pt idx="9">
                  <c:v>92.743679999999998</c:v>
                </c:pt>
                <c:pt idx="10">
                  <c:v>93.610110000000006</c:v>
                </c:pt>
                <c:pt idx="11">
                  <c:v>94.25992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16A9-4705-B55B-CAB4097378DD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6A9-4705-B55B-CAB4097378DD}"/>
              </c:ext>
            </c:extLst>
          </c:dPt>
          <c:dPt>
            <c:idx val="1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6A9-4705-B55B-CAB4097378DD}"/>
              </c:ext>
            </c:extLst>
          </c:dPt>
          <c:dPt>
            <c:idx val="2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6A9-4705-B55B-CAB4097378DD}"/>
              </c:ext>
            </c:extLst>
          </c:dPt>
          <c:dPt>
            <c:idx val="4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16A9-4705-B55B-CAB4097378DD}"/>
              </c:ext>
            </c:extLst>
          </c:dPt>
          <c:dPt>
            <c:idx val="5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16A9-4705-B55B-CAB4097378DD}"/>
              </c:ext>
            </c:extLst>
          </c:dPt>
          <c:dPt>
            <c:idx val="7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16A9-4705-B55B-CAB4097378DD}"/>
              </c:ext>
            </c:extLst>
          </c:dPt>
          <c:dPt>
            <c:idx val="8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16A9-4705-B55B-CAB4097378DD}"/>
              </c:ext>
            </c:extLst>
          </c:dPt>
          <c:dPt>
            <c:idx val="9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16A9-4705-B55B-CAB4097378DD}"/>
              </c:ext>
            </c:extLst>
          </c:dPt>
          <c:dPt>
            <c:idx val="10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16A9-4705-B55B-CAB4097378DD}"/>
              </c:ext>
            </c:extLst>
          </c:dPt>
          <c:dPt>
            <c:idx val="11"/>
            <c:marker>
              <c:symbol val="squar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16A9-4705-B55B-CAB4097378DD}"/>
              </c:ext>
            </c:extLst>
          </c:dPt>
          <c:xVal>
            <c:numRef>
              <c:f>Sheet1!$A$1:$L$1</c:f>
              <c:numCache>
                <c:formatCode>General</c:formatCode>
                <c:ptCount val="12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  <c:pt idx="11">
                  <c:v>15340</c:v>
                </c:pt>
              </c:numCache>
            </c:numRef>
          </c:xVal>
          <c:yVal>
            <c:numRef>
              <c:f>Sheet1!$A$3:$L$3</c:f>
              <c:numCache>
                <c:formatCode>General</c:formatCode>
                <c:ptCount val="12"/>
                <c:pt idx="0">
                  <c:v>81.588449999999995</c:v>
                </c:pt>
                <c:pt idx="1">
                  <c:v>81.805049999999994</c:v>
                </c:pt>
                <c:pt idx="2">
                  <c:v>85.162450000000007</c:v>
                </c:pt>
                <c:pt idx="3">
                  <c:v>88.24487250341997</c:v>
                </c:pt>
                <c:pt idx="4">
                  <c:v>91.335740000000001</c:v>
                </c:pt>
                <c:pt idx="5">
                  <c:v>92.202160000000006</c:v>
                </c:pt>
                <c:pt idx="6">
                  <c:v>93.06859</c:v>
                </c:pt>
                <c:pt idx="7">
                  <c:v>93.935019999999994</c:v>
                </c:pt>
                <c:pt idx="8">
                  <c:v>94.909739999999999</c:v>
                </c:pt>
                <c:pt idx="9">
                  <c:v>95.126350000000002</c:v>
                </c:pt>
                <c:pt idx="10">
                  <c:v>96.425989999999999</c:v>
                </c:pt>
                <c:pt idx="11">
                  <c:v>96.7509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16A9-4705-B55B-CAB4097378DD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16A9-4705-B55B-CAB4097378DD}"/>
              </c:ext>
            </c:extLst>
          </c:dPt>
          <c:dPt>
            <c:idx val="1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16A9-4705-B55B-CAB4097378DD}"/>
              </c:ext>
            </c:extLst>
          </c:dPt>
          <c:dPt>
            <c:idx val="2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16A9-4705-B55B-CAB4097378DD}"/>
              </c:ext>
            </c:extLst>
          </c:dPt>
          <c:dPt>
            <c:idx val="4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16A9-4705-B55B-CAB4097378DD}"/>
              </c:ext>
            </c:extLst>
          </c:dPt>
          <c:dPt>
            <c:idx val="5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16A9-4705-B55B-CAB4097378DD}"/>
              </c:ext>
            </c:extLst>
          </c:dPt>
          <c:dPt>
            <c:idx val="7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16A9-4705-B55B-CAB4097378DD}"/>
              </c:ext>
            </c:extLst>
          </c:dPt>
          <c:dPt>
            <c:idx val="8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16A9-4705-B55B-CAB4097378DD}"/>
              </c:ext>
            </c:extLst>
          </c:dPt>
          <c:dPt>
            <c:idx val="9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16A9-4705-B55B-CAB4097378DD}"/>
              </c:ext>
            </c:extLst>
          </c:dPt>
          <c:dPt>
            <c:idx val="10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16A9-4705-B55B-CAB4097378DD}"/>
              </c:ext>
            </c:extLst>
          </c:dPt>
          <c:dPt>
            <c:idx val="11"/>
            <c:marker>
              <c:symbol val="triangle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16A9-4705-B55B-CAB4097378DD}"/>
              </c:ext>
            </c:extLst>
          </c:dPt>
          <c:xVal>
            <c:numRef>
              <c:f>Sheet1!$A$1:$L$1</c:f>
              <c:numCache>
                <c:formatCode>General</c:formatCode>
                <c:ptCount val="12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  <c:pt idx="11">
                  <c:v>15340</c:v>
                </c:pt>
              </c:numCache>
            </c:numRef>
          </c:xVal>
          <c:yVal>
            <c:numRef>
              <c:f>Sheet1!$A$4:$L$4</c:f>
              <c:numCache>
                <c:formatCode>General</c:formatCode>
                <c:ptCount val="12"/>
                <c:pt idx="0">
                  <c:v>78.555949999999996</c:v>
                </c:pt>
                <c:pt idx="1">
                  <c:v>82.129959999999997</c:v>
                </c:pt>
                <c:pt idx="2">
                  <c:v>84.512630000000001</c:v>
                </c:pt>
                <c:pt idx="3">
                  <c:v>86.243114473324212</c:v>
                </c:pt>
                <c:pt idx="4">
                  <c:v>87.978340000000003</c:v>
                </c:pt>
                <c:pt idx="5">
                  <c:v>90.902529999999999</c:v>
                </c:pt>
                <c:pt idx="6">
                  <c:v>92.689529999999991</c:v>
                </c:pt>
                <c:pt idx="7">
                  <c:v>94.476529999999997</c:v>
                </c:pt>
                <c:pt idx="8">
                  <c:v>94.259929999999997</c:v>
                </c:pt>
                <c:pt idx="9">
                  <c:v>96.317689999999999</c:v>
                </c:pt>
                <c:pt idx="10">
                  <c:v>95.884479999999996</c:v>
                </c:pt>
                <c:pt idx="11">
                  <c:v>96.42598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0-16A9-4705-B55B-CAB4097378DD}"/>
            </c:ext>
          </c:extLst>
        </c:ser>
        <c:ser>
          <c:idx val="3"/>
          <c:order val="3"/>
          <c:spPr>
            <a:ln w="19050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16A9-4705-B55B-CAB4097378DD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16A9-4705-B55B-CAB4097378DD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16A9-4705-B55B-CAB4097378DD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16A9-4705-B55B-CAB4097378DD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16A9-4705-B55B-CAB4097378DD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16A9-4705-B55B-CAB4097378DD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16A9-4705-B55B-CAB4097378DD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16A9-4705-B55B-CAB4097378DD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16A9-4705-B55B-CAB4097378DD}"/>
              </c:ext>
            </c:extLst>
          </c:dPt>
          <c:dPt>
            <c:idx val="11"/>
            <c:marker>
              <c:symbol val="diamond"/>
              <c:size val="6"/>
              <c:spPr>
                <a:solidFill>
                  <a:schemeClr val="folHlink"/>
                </a:solidFill>
                <a:ln w="9525" algn="ctr">
                  <a:solidFill>
                    <a:schemeClr val="fol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16A9-4705-B55B-CAB4097378DD}"/>
              </c:ext>
            </c:extLst>
          </c:dPt>
          <c:xVal>
            <c:numRef>
              <c:f>Sheet1!$A$1:$L$1</c:f>
              <c:numCache>
                <c:formatCode>General</c:formatCode>
                <c:ptCount val="12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  <c:pt idx="11">
                  <c:v>15340</c:v>
                </c:pt>
              </c:numCache>
            </c:numRef>
          </c:xVal>
          <c:yVal>
            <c:numRef>
              <c:f>Sheet1!$A$5:$L$5</c:f>
              <c:numCache>
                <c:formatCode>General</c:formatCode>
                <c:ptCount val="12"/>
                <c:pt idx="0">
                  <c:v>74.981949999999998</c:v>
                </c:pt>
                <c:pt idx="1">
                  <c:v>81.805049999999994</c:v>
                </c:pt>
                <c:pt idx="2">
                  <c:v>83.429599999999994</c:v>
                </c:pt>
                <c:pt idx="3">
                  <c:v>86.457941586867307</c:v>
                </c:pt>
                <c:pt idx="4">
                  <c:v>89.494579999999999</c:v>
                </c:pt>
                <c:pt idx="5">
                  <c:v>91.335740000000001</c:v>
                </c:pt>
                <c:pt idx="6">
                  <c:v>93.44765000000001</c:v>
                </c:pt>
                <c:pt idx="7">
                  <c:v>95.559560000000005</c:v>
                </c:pt>
                <c:pt idx="8">
                  <c:v>95.559560000000005</c:v>
                </c:pt>
                <c:pt idx="9">
                  <c:v>95.559560000000005</c:v>
                </c:pt>
                <c:pt idx="10">
                  <c:v>97.292420000000007</c:v>
                </c:pt>
                <c:pt idx="11">
                  <c:v>97.40072000000000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B-16A9-4705-B55B-CAB409737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57926111"/>
        <c:axId val="1"/>
      </c:scatterChart>
      <c:valAx>
        <c:axId val="1857926111"/>
        <c:scaling>
          <c:orientation val="minMax"/>
          <c:max val="15340"/>
          <c:min val="113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100"/>
          <c:min val="7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857926111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50366F-E84E-4683-8BC5-BADE6C900CD8}" type="datetimeFigureOut">
              <a:rPr lang="en-US" smtClean="0"/>
              <a:t>7/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85EABC-8571-47E3-B449-6442721ED7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10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7369" indent="-167369">
              <a:buFontTx/>
              <a:buChar char="-"/>
            </a:pPr>
            <a:r>
              <a:rPr lang="en-US" dirty="0"/>
              <a:t>AI as a concept has been around for ages… in fact, since the 1950s</a:t>
            </a:r>
          </a:p>
          <a:p>
            <a:pPr marL="167369" indent="-167369">
              <a:buFontTx/>
              <a:buChar char="-"/>
            </a:pPr>
            <a:r>
              <a:rPr lang="en-US" dirty="0"/>
              <a:t>In the early years, the birth of AI was followed by huge optimism – heavy government funding and rapid development in algorithms were hallmarks of this phase</a:t>
            </a:r>
          </a:p>
          <a:p>
            <a:pPr marL="167369" indent="-167369">
              <a:buFontTx/>
              <a:buChar char="-"/>
            </a:pPr>
            <a:r>
              <a:rPr lang="en-US" dirty="0"/>
              <a:t>But this optimism had raised expectations impossibly high, and when the promised results failed to materialize, funding for AI disappeared</a:t>
            </a:r>
          </a:p>
          <a:p>
            <a:pPr marL="167369" indent="-167369">
              <a:buFontTx/>
              <a:buChar char="-"/>
            </a:pPr>
            <a:r>
              <a:rPr lang="en-US" dirty="0"/>
              <a:t>80s brought together first useful applications: in the 1980s a form of AI program called "expert systems“, restricted to a small domain of specific knowledge was adopted</a:t>
            </a:r>
          </a:p>
          <a:p>
            <a:pPr marL="167369" indent="-167369">
              <a:buFontTx/>
              <a:buChar char="-"/>
            </a:pPr>
            <a:r>
              <a:rPr lang="en-US" dirty="0"/>
              <a:t>But lack of wide applicability of these systems was a major barriers</a:t>
            </a:r>
          </a:p>
          <a:p>
            <a:pPr marL="167369" indent="-167369">
              <a:buFontTx/>
              <a:buChar char="-"/>
            </a:pPr>
            <a:r>
              <a:rPr lang="en-US" dirty="0"/>
              <a:t>Over the past two decades, we have again seen the popularity of AI gain momentum—question is – will it be different this time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 July 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20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L EDA: https://www.electronicdesign.com/industrial-automation/article/21120058/mentor-a-siemens-business-eda-in-the-era-of-ai</a:t>
            </a:r>
          </a:p>
          <a:p>
            <a:r>
              <a:rPr lang="en-US" dirty="0"/>
              <a:t>Process mining: https://www.mckinsey.com/industries/automotive-and-assembly/our-insights/how-industrial-companies-can-cut-their-indirect-costs-fas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 July 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1409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HOW CNN,REST_N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85EABC-8571-47E3-B449-6442721ED7F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49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85EABC-8571-47E3-B449-6442721ED7F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7794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85EABC-8571-47E3-B449-6442721ED7F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0623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15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14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tags" Target="../tags/tag36.xml"/><Relationship Id="rId11" Type="http://schemas.openxmlformats.org/officeDocument/2006/relationships/image" Target="../media/image13.emf"/><Relationship Id="rId5" Type="http://schemas.openxmlformats.org/officeDocument/2006/relationships/tags" Target="../tags/tag35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4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6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16.emf"/><Relationship Id="rId4" Type="http://schemas.openxmlformats.org/officeDocument/2006/relationships/tags" Target="../tags/tag49.xml"/><Relationship Id="rId9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.vml"/><Relationship Id="rId6" Type="http://schemas.openxmlformats.org/officeDocument/2006/relationships/tags" Target="../tags/tag57.xml"/><Relationship Id="rId11" Type="http://schemas.openxmlformats.org/officeDocument/2006/relationships/image" Target="../media/image16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image" Target="../media/image13.emf"/><Relationship Id="rId2" Type="http://schemas.openxmlformats.org/officeDocument/2006/relationships/tags" Target="../tags/tag60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image" Target="../media/image13.emf"/><Relationship Id="rId2" Type="http://schemas.openxmlformats.org/officeDocument/2006/relationships/tags" Target="../tags/tag73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image" Target="../media/image13.emf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6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image" Target="../media/image17.emf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0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10" Type="http://schemas.openxmlformats.org/officeDocument/2006/relationships/tags" Target="../tags/tag108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tags" Target="../tags/tag125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17" Type="http://schemas.openxmlformats.org/officeDocument/2006/relationships/image" Target="../media/image13.emf"/><Relationship Id="rId2" Type="http://schemas.openxmlformats.org/officeDocument/2006/relationships/tags" Target="../tags/tag114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tags" Target="../tags/tag126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39.xml"/><Relationship Id="rId7" Type="http://schemas.openxmlformats.org/officeDocument/2006/relationships/image" Target="../media/image14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49.xml"/><Relationship Id="rId11" Type="http://schemas.openxmlformats.org/officeDocument/2006/relationships/image" Target="../media/image13.emf"/><Relationship Id="rId5" Type="http://schemas.openxmlformats.org/officeDocument/2006/relationships/tags" Target="../tags/tag148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47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image" Target="../media/image15.png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image" Target="../media/image14.emf"/><Relationship Id="rId2" Type="http://schemas.openxmlformats.org/officeDocument/2006/relationships/tags" Target="../tags/tag175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7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87.xml"/><Relationship Id="rId11" Type="http://schemas.openxmlformats.org/officeDocument/2006/relationships/image" Target="../media/image13.emf"/><Relationship Id="rId5" Type="http://schemas.openxmlformats.org/officeDocument/2006/relationships/tags" Target="../tags/tag18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85.xml"/><Relationship Id="rId9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7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202.xml"/><Relationship Id="rId5" Type="http://schemas.openxmlformats.org/officeDocument/2006/relationships/tags" Target="../tags/tag201.xml"/><Relationship Id="rId10" Type="http://schemas.openxmlformats.org/officeDocument/2006/relationships/image" Target="../media/image16.emf"/><Relationship Id="rId4" Type="http://schemas.openxmlformats.org/officeDocument/2006/relationships/tags" Target="../tags/tag200.xml"/><Relationship Id="rId9" Type="http://schemas.openxmlformats.org/officeDocument/2006/relationships/oleObject" Target="../embeddings/oleObject4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08.xml"/><Relationship Id="rId11" Type="http://schemas.openxmlformats.org/officeDocument/2006/relationships/image" Target="../media/image16.emf"/><Relationship Id="rId5" Type="http://schemas.openxmlformats.org/officeDocument/2006/relationships/tags" Target="../tags/tag20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06.xml"/><Relationship Id="rId9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tags" Target="../tags/tag222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tags" Target="../tags/tag221.xml"/><Relationship Id="rId17" Type="http://schemas.openxmlformats.org/officeDocument/2006/relationships/image" Target="../media/image13.emf"/><Relationship Id="rId2" Type="http://schemas.openxmlformats.org/officeDocument/2006/relationships/tags" Target="../tags/tag21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5" Type="http://schemas.openxmlformats.org/officeDocument/2006/relationships/tags" Target="../tags/tag214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219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tags" Target="../tags/tag22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tags" Target="../tags/tag23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tags" Target="../tags/tag234.xml"/><Relationship Id="rId17" Type="http://schemas.openxmlformats.org/officeDocument/2006/relationships/image" Target="../media/image13.emf"/><Relationship Id="rId2" Type="http://schemas.openxmlformats.org/officeDocument/2006/relationships/tags" Target="../tags/tag22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5" Type="http://schemas.openxmlformats.org/officeDocument/2006/relationships/tags" Target="../tags/tag22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232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tags" Target="../tags/tag236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13" Type="http://schemas.openxmlformats.org/officeDocument/2006/relationships/tags" Target="../tags/tag248.xml"/><Relationship Id="rId18" Type="http://schemas.openxmlformats.org/officeDocument/2006/relationships/image" Target="../media/image13.emf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tags" Target="../tags/tag24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237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5" Type="http://schemas.openxmlformats.org/officeDocument/2006/relationships/tags" Target="../tags/tag240.xml"/><Relationship Id="rId15" Type="http://schemas.openxmlformats.org/officeDocument/2006/relationships/tags" Target="../tags/tag250.xml"/><Relationship Id="rId10" Type="http://schemas.openxmlformats.org/officeDocument/2006/relationships/tags" Target="../tags/tag245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tags" Target="../tags/tag249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257.xml"/><Relationship Id="rId13" Type="http://schemas.openxmlformats.org/officeDocument/2006/relationships/tags" Target="../tags/tag262.xml"/><Relationship Id="rId18" Type="http://schemas.openxmlformats.org/officeDocument/2006/relationships/image" Target="../media/image17.emf"/><Relationship Id="rId3" Type="http://schemas.openxmlformats.org/officeDocument/2006/relationships/tags" Target="../tags/tag252.xml"/><Relationship Id="rId7" Type="http://schemas.openxmlformats.org/officeDocument/2006/relationships/tags" Target="../tags/tag256.xml"/><Relationship Id="rId12" Type="http://schemas.openxmlformats.org/officeDocument/2006/relationships/tags" Target="../tags/tag26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251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55.xml"/><Relationship Id="rId11" Type="http://schemas.openxmlformats.org/officeDocument/2006/relationships/tags" Target="../tags/tag260.xml"/><Relationship Id="rId5" Type="http://schemas.openxmlformats.org/officeDocument/2006/relationships/tags" Target="../tags/tag254.xml"/><Relationship Id="rId15" Type="http://schemas.openxmlformats.org/officeDocument/2006/relationships/tags" Target="../tags/tag264.xml"/><Relationship Id="rId10" Type="http://schemas.openxmlformats.org/officeDocument/2006/relationships/tags" Target="../tags/tag259.xml"/><Relationship Id="rId4" Type="http://schemas.openxmlformats.org/officeDocument/2006/relationships/tags" Target="../tags/tag253.xml"/><Relationship Id="rId9" Type="http://schemas.openxmlformats.org/officeDocument/2006/relationships/tags" Target="../tags/tag258.xml"/><Relationship Id="rId14" Type="http://schemas.openxmlformats.org/officeDocument/2006/relationships/tags" Target="../tags/tag26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13" Type="http://schemas.openxmlformats.org/officeDocument/2006/relationships/tags" Target="../tags/tag276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tags" Target="../tags/tag275.xml"/><Relationship Id="rId17" Type="http://schemas.openxmlformats.org/officeDocument/2006/relationships/image" Target="../media/image13.emf"/><Relationship Id="rId2" Type="http://schemas.openxmlformats.org/officeDocument/2006/relationships/tags" Target="../tags/tag26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69.xml"/><Relationship Id="rId11" Type="http://schemas.openxmlformats.org/officeDocument/2006/relationships/tags" Target="../tags/tag274.xml"/><Relationship Id="rId5" Type="http://schemas.openxmlformats.org/officeDocument/2006/relationships/tags" Target="../tags/tag268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273.xml"/><Relationship Id="rId4" Type="http://schemas.openxmlformats.org/officeDocument/2006/relationships/tags" Target="../tags/tag267.xml"/><Relationship Id="rId9" Type="http://schemas.openxmlformats.org/officeDocument/2006/relationships/tags" Target="../tags/tag272.xml"/><Relationship Id="rId14" Type="http://schemas.openxmlformats.org/officeDocument/2006/relationships/tags" Target="../tags/tag277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5" Type="http://schemas.openxmlformats.org/officeDocument/2006/relationships/tags" Target="../tags/tag282.xml"/><Relationship Id="rId4" Type="http://schemas.openxmlformats.org/officeDocument/2006/relationships/tags" Target="../tags/tag28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8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90.xml"/><Relationship Id="rId7" Type="http://schemas.openxmlformats.org/officeDocument/2006/relationships/image" Target="../media/image14.emf"/><Relationship Id="rId2" Type="http://schemas.openxmlformats.org/officeDocument/2006/relationships/tags" Target="../tags/tag289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5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3" Type="http://schemas.openxmlformats.org/officeDocument/2006/relationships/tags" Target="../tags/tag297.xml"/><Relationship Id="rId7" Type="http://schemas.openxmlformats.org/officeDocument/2006/relationships/tags" Target="../tags/tag301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24.vml"/><Relationship Id="rId6" Type="http://schemas.openxmlformats.org/officeDocument/2006/relationships/tags" Target="../tags/tag300.xml"/><Relationship Id="rId11" Type="http://schemas.openxmlformats.org/officeDocument/2006/relationships/image" Target="../media/image13.emf"/><Relationship Id="rId5" Type="http://schemas.openxmlformats.org/officeDocument/2006/relationships/tags" Target="../tags/tag299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298.xml"/><Relationship Id="rId9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13" Type="http://schemas.openxmlformats.org/officeDocument/2006/relationships/image" Target="../media/image15.png"/><Relationship Id="rId3" Type="http://schemas.openxmlformats.org/officeDocument/2006/relationships/tags" Target="../tags/tag327.xml"/><Relationship Id="rId7" Type="http://schemas.openxmlformats.org/officeDocument/2006/relationships/tags" Target="../tags/tag331.xml"/><Relationship Id="rId12" Type="http://schemas.openxmlformats.org/officeDocument/2006/relationships/image" Target="../media/image14.emf"/><Relationship Id="rId2" Type="http://schemas.openxmlformats.org/officeDocument/2006/relationships/tags" Target="../tags/tag32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30.xml"/><Relationship Id="rId11" Type="http://schemas.openxmlformats.org/officeDocument/2006/relationships/oleObject" Target="../embeddings/oleObject2.bin"/><Relationship Id="rId5" Type="http://schemas.openxmlformats.org/officeDocument/2006/relationships/tags" Target="../tags/tag329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28.xml"/><Relationship Id="rId9" Type="http://schemas.openxmlformats.org/officeDocument/2006/relationships/tags" Target="../tags/tag333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340.xml"/><Relationship Id="rId3" Type="http://schemas.openxmlformats.org/officeDocument/2006/relationships/tags" Target="../tags/tag335.xml"/><Relationship Id="rId7" Type="http://schemas.openxmlformats.org/officeDocument/2006/relationships/tags" Target="../tags/tag339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38.xml"/><Relationship Id="rId11" Type="http://schemas.openxmlformats.org/officeDocument/2006/relationships/image" Target="../media/image13.emf"/><Relationship Id="rId5" Type="http://schemas.openxmlformats.org/officeDocument/2006/relationships/tags" Target="../tags/tag33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36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4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4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53.xml"/><Relationship Id="rId5" Type="http://schemas.openxmlformats.org/officeDocument/2006/relationships/tags" Target="../tags/tag352.xml"/><Relationship Id="rId10" Type="http://schemas.openxmlformats.org/officeDocument/2006/relationships/image" Target="../media/image16.emf"/><Relationship Id="rId4" Type="http://schemas.openxmlformats.org/officeDocument/2006/relationships/tags" Target="../tags/tag351.xml"/><Relationship Id="rId9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59.xml"/><Relationship Id="rId11" Type="http://schemas.openxmlformats.org/officeDocument/2006/relationships/image" Target="../media/image16.emf"/><Relationship Id="rId5" Type="http://schemas.openxmlformats.org/officeDocument/2006/relationships/tags" Target="../tags/tag35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57.xml"/><Relationship Id="rId9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368.xml"/><Relationship Id="rId13" Type="http://schemas.openxmlformats.org/officeDocument/2006/relationships/tags" Target="../tags/tag373.xml"/><Relationship Id="rId3" Type="http://schemas.openxmlformats.org/officeDocument/2006/relationships/tags" Target="../tags/tag363.xml"/><Relationship Id="rId7" Type="http://schemas.openxmlformats.org/officeDocument/2006/relationships/tags" Target="../tags/tag367.xml"/><Relationship Id="rId12" Type="http://schemas.openxmlformats.org/officeDocument/2006/relationships/tags" Target="../tags/tag372.xml"/><Relationship Id="rId17" Type="http://schemas.openxmlformats.org/officeDocument/2006/relationships/image" Target="../media/image13.emf"/><Relationship Id="rId2" Type="http://schemas.openxmlformats.org/officeDocument/2006/relationships/tags" Target="../tags/tag362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30.vml"/><Relationship Id="rId6" Type="http://schemas.openxmlformats.org/officeDocument/2006/relationships/tags" Target="../tags/tag366.xml"/><Relationship Id="rId11" Type="http://schemas.openxmlformats.org/officeDocument/2006/relationships/tags" Target="../tags/tag371.xml"/><Relationship Id="rId5" Type="http://schemas.openxmlformats.org/officeDocument/2006/relationships/tags" Target="../tags/tag365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370.xml"/><Relationship Id="rId4" Type="http://schemas.openxmlformats.org/officeDocument/2006/relationships/tags" Target="../tags/tag364.xml"/><Relationship Id="rId9" Type="http://schemas.openxmlformats.org/officeDocument/2006/relationships/tags" Target="../tags/tag369.xml"/><Relationship Id="rId14" Type="http://schemas.openxmlformats.org/officeDocument/2006/relationships/tags" Target="../tags/tag37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381.xml"/><Relationship Id="rId13" Type="http://schemas.openxmlformats.org/officeDocument/2006/relationships/tags" Target="../tags/tag386.xml"/><Relationship Id="rId3" Type="http://schemas.openxmlformats.org/officeDocument/2006/relationships/tags" Target="../tags/tag376.xml"/><Relationship Id="rId7" Type="http://schemas.openxmlformats.org/officeDocument/2006/relationships/tags" Target="../tags/tag380.xml"/><Relationship Id="rId12" Type="http://schemas.openxmlformats.org/officeDocument/2006/relationships/tags" Target="../tags/tag385.xml"/><Relationship Id="rId17" Type="http://schemas.openxmlformats.org/officeDocument/2006/relationships/image" Target="../media/image13.emf"/><Relationship Id="rId2" Type="http://schemas.openxmlformats.org/officeDocument/2006/relationships/tags" Target="../tags/tag375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31.vml"/><Relationship Id="rId6" Type="http://schemas.openxmlformats.org/officeDocument/2006/relationships/tags" Target="../tags/tag379.xml"/><Relationship Id="rId11" Type="http://schemas.openxmlformats.org/officeDocument/2006/relationships/tags" Target="../tags/tag384.xml"/><Relationship Id="rId5" Type="http://schemas.openxmlformats.org/officeDocument/2006/relationships/tags" Target="../tags/tag378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383.xml"/><Relationship Id="rId4" Type="http://schemas.openxmlformats.org/officeDocument/2006/relationships/tags" Target="../tags/tag377.xml"/><Relationship Id="rId9" Type="http://schemas.openxmlformats.org/officeDocument/2006/relationships/tags" Target="../tags/tag382.xml"/><Relationship Id="rId14" Type="http://schemas.openxmlformats.org/officeDocument/2006/relationships/tags" Target="../tags/tag387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394.xml"/><Relationship Id="rId13" Type="http://schemas.openxmlformats.org/officeDocument/2006/relationships/tags" Target="../tags/tag399.xml"/><Relationship Id="rId18" Type="http://schemas.openxmlformats.org/officeDocument/2006/relationships/image" Target="../media/image13.emf"/><Relationship Id="rId3" Type="http://schemas.openxmlformats.org/officeDocument/2006/relationships/tags" Target="../tags/tag389.xml"/><Relationship Id="rId7" Type="http://schemas.openxmlformats.org/officeDocument/2006/relationships/tags" Target="../tags/tag393.xml"/><Relationship Id="rId12" Type="http://schemas.openxmlformats.org/officeDocument/2006/relationships/tags" Target="../tags/tag398.xml"/><Relationship Id="rId17" Type="http://schemas.openxmlformats.org/officeDocument/2006/relationships/oleObject" Target="../embeddings/oleObject8.bin"/><Relationship Id="rId2" Type="http://schemas.openxmlformats.org/officeDocument/2006/relationships/tags" Target="../tags/tag388.xml"/><Relationship Id="rId16" Type="http://schemas.openxmlformats.org/officeDocument/2006/relationships/slideMaster" Target="../slideMasters/slideMaster4.xml"/><Relationship Id="rId1" Type="http://schemas.openxmlformats.org/officeDocument/2006/relationships/vmlDrawing" Target="../drawings/vmlDrawing32.vml"/><Relationship Id="rId6" Type="http://schemas.openxmlformats.org/officeDocument/2006/relationships/tags" Target="../tags/tag392.xml"/><Relationship Id="rId11" Type="http://schemas.openxmlformats.org/officeDocument/2006/relationships/tags" Target="../tags/tag397.xml"/><Relationship Id="rId5" Type="http://schemas.openxmlformats.org/officeDocument/2006/relationships/tags" Target="../tags/tag391.xml"/><Relationship Id="rId15" Type="http://schemas.openxmlformats.org/officeDocument/2006/relationships/tags" Target="../tags/tag401.xml"/><Relationship Id="rId10" Type="http://schemas.openxmlformats.org/officeDocument/2006/relationships/tags" Target="../tags/tag396.xml"/><Relationship Id="rId4" Type="http://schemas.openxmlformats.org/officeDocument/2006/relationships/tags" Target="../tags/tag390.xml"/><Relationship Id="rId9" Type="http://schemas.openxmlformats.org/officeDocument/2006/relationships/tags" Target="../tags/tag395.xml"/><Relationship Id="rId14" Type="http://schemas.openxmlformats.org/officeDocument/2006/relationships/tags" Target="../tags/tag400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13" Type="http://schemas.openxmlformats.org/officeDocument/2006/relationships/tags" Target="../tags/tag413.xml"/><Relationship Id="rId18" Type="http://schemas.openxmlformats.org/officeDocument/2006/relationships/image" Target="../media/image17.emf"/><Relationship Id="rId3" Type="http://schemas.openxmlformats.org/officeDocument/2006/relationships/tags" Target="../tags/tag403.xml"/><Relationship Id="rId7" Type="http://schemas.openxmlformats.org/officeDocument/2006/relationships/tags" Target="../tags/tag407.xml"/><Relationship Id="rId12" Type="http://schemas.openxmlformats.org/officeDocument/2006/relationships/tags" Target="../tags/tag412.xml"/><Relationship Id="rId17" Type="http://schemas.openxmlformats.org/officeDocument/2006/relationships/oleObject" Target="../embeddings/oleObject9.bin"/><Relationship Id="rId2" Type="http://schemas.openxmlformats.org/officeDocument/2006/relationships/tags" Target="../tags/tag402.xml"/><Relationship Id="rId16" Type="http://schemas.openxmlformats.org/officeDocument/2006/relationships/slideMaster" Target="../slideMasters/slideMaster4.xml"/><Relationship Id="rId1" Type="http://schemas.openxmlformats.org/officeDocument/2006/relationships/vmlDrawing" Target="../drawings/vmlDrawing33.vml"/><Relationship Id="rId6" Type="http://schemas.openxmlformats.org/officeDocument/2006/relationships/tags" Target="../tags/tag406.xml"/><Relationship Id="rId11" Type="http://schemas.openxmlformats.org/officeDocument/2006/relationships/tags" Target="../tags/tag411.xml"/><Relationship Id="rId5" Type="http://schemas.openxmlformats.org/officeDocument/2006/relationships/tags" Target="../tags/tag405.xml"/><Relationship Id="rId15" Type="http://schemas.openxmlformats.org/officeDocument/2006/relationships/tags" Target="../tags/tag415.xml"/><Relationship Id="rId10" Type="http://schemas.openxmlformats.org/officeDocument/2006/relationships/tags" Target="../tags/tag410.xml"/><Relationship Id="rId4" Type="http://schemas.openxmlformats.org/officeDocument/2006/relationships/tags" Target="../tags/tag404.xml"/><Relationship Id="rId9" Type="http://schemas.openxmlformats.org/officeDocument/2006/relationships/tags" Target="../tags/tag409.xml"/><Relationship Id="rId14" Type="http://schemas.openxmlformats.org/officeDocument/2006/relationships/tags" Target="../tags/tag414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13" Type="http://schemas.openxmlformats.org/officeDocument/2006/relationships/tags" Target="../tags/tag427.xml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12" Type="http://schemas.openxmlformats.org/officeDocument/2006/relationships/tags" Target="../tags/tag426.xml"/><Relationship Id="rId17" Type="http://schemas.openxmlformats.org/officeDocument/2006/relationships/image" Target="../media/image13.emf"/><Relationship Id="rId2" Type="http://schemas.openxmlformats.org/officeDocument/2006/relationships/tags" Target="../tags/tag416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34.vml"/><Relationship Id="rId6" Type="http://schemas.openxmlformats.org/officeDocument/2006/relationships/tags" Target="../tags/tag420.xml"/><Relationship Id="rId11" Type="http://schemas.openxmlformats.org/officeDocument/2006/relationships/tags" Target="../tags/tag425.xml"/><Relationship Id="rId5" Type="http://schemas.openxmlformats.org/officeDocument/2006/relationships/tags" Target="../tags/tag419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424.xml"/><Relationship Id="rId4" Type="http://schemas.openxmlformats.org/officeDocument/2006/relationships/tags" Target="../tags/tag418.xml"/><Relationship Id="rId9" Type="http://schemas.openxmlformats.org/officeDocument/2006/relationships/tags" Target="../tags/tag423.xml"/><Relationship Id="rId14" Type="http://schemas.openxmlformats.org/officeDocument/2006/relationships/tags" Target="../tags/tag428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31.xml"/><Relationship Id="rId7" Type="http://schemas.openxmlformats.org/officeDocument/2006/relationships/tags" Target="../tags/tag435.xml"/><Relationship Id="rId2" Type="http://schemas.openxmlformats.org/officeDocument/2006/relationships/tags" Target="../tags/tag430.xml"/><Relationship Id="rId1" Type="http://schemas.openxmlformats.org/officeDocument/2006/relationships/tags" Target="../tags/tag429.xml"/><Relationship Id="rId6" Type="http://schemas.openxmlformats.org/officeDocument/2006/relationships/tags" Target="../tags/tag434.xml"/><Relationship Id="rId5" Type="http://schemas.openxmlformats.org/officeDocument/2006/relationships/tags" Target="../tags/tag433.xml"/><Relationship Id="rId4" Type="http://schemas.openxmlformats.org/officeDocument/2006/relationships/tags" Target="../tags/tag43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438.xml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3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41.xml"/><Relationship Id="rId7" Type="http://schemas.openxmlformats.org/officeDocument/2006/relationships/image" Target="../media/image14.emf"/><Relationship Id="rId2" Type="http://schemas.openxmlformats.org/officeDocument/2006/relationships/tags" Target="../tags/tag440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4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4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453.xml"/><Relationship Id="rId3" Type="http://schemas.openxmlformats.org/officeDocument/2006/relationships/tags" Target="../tags/tag448.xml"/><Relationship Id="rId7" Type="http://schemas.openxmlformats.org/officeDocument/2006/relationships/tags" Target="../tags/tag452.xml"/><Relationship Id="rId2" Type="http://schemas.openxmlformats.org/officeDocument/2006/relationships/tags" Target="../tags/tag447.xml"/><Relationship Id="rId1" Type="http://schemas.openxmlformats.org/officeDocument/2006/relationships/vmlDrawing" Target="../drawings/vmlDrawing36.vml"/><Relationship Id="rId6" Type="http://schemas.openxmlformats.org/officeDocument/2006/relationships/tags" Target="../tags/tag451.xml"/><Relationship Id="rId11" Type="http://schemas.openxmlformats.org/officeDocument/2006/relationships/image" Target="../media/image13.emf"/><Relationship Id="rId5" Type="http://schemas.openxmlformats.org/officeDocument/2006/relationships/tags" Target="../tags/tag450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449.xml"/><Relationship Id="rId9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9565" y="3068464"/>
            <a:ext cx="7315200" cy="34148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49565" y="1504950"/>
            <a:ext cx="7315200" cy="656614"/>
          </a:xfrm>
        </p:spPr>
        <p:txBody>
          <a:bodyPr/>
          <a:lstStyle>
            <a:lvl1pPr algn="l">
              <a:defRPr sz="32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9565" y="2209800"/>
            <a:ext cx="7315200" cy="5905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36141" y="4882802"/>
            <a:ext cx="3664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</a:rPr>
              <a:t>II-VI Incorporated CONFIDENTIAL - Export Control Classification EAR99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49565" y="3449464"/>
            <a:ext cx="7315200" cy="34148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, Titl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97" y="186094"/>
            <a:ext cx="1371600" cy="94052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228600"/>
            <a:ext cx="2886582" cy="52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968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550"/>
            <a:ext cx="9144000" cy="1676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2343150"/>
            <a:ext cx="7772400" cy="480060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sub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90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 Red">
    <p:bg>
      <p:bgPr>
        <a:gradFill flip="none" rotWithShape="1">
          <a:gsLst>
            <a:gs pos="39000">
              <a:srgbClr val="971A1E"/>
            </a:gs>
            <a:gs pos="100000">
              <a:srgbClr val="7C1618"/>
            </a:gs>
          </a:gsLst>
          <a:path path="circle">
            <a:fillToRect l="50000" t="-80000" r="50000" b="18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056" y="1051560"/>
            <a:ext cx="2655888" cy="182118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880" y="2876550"/>
            <a:ext cx="4206240" cy="75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546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 Gray">
    <p:bg>
      <p:bgPr>
        <a:gradFill>
          <a:gsLst>
            <a:gs pos="16000">
              <a:schemeClr val="bg1"/>
            </a:gs>
            <a:gs pos="100000">
              <a:srgbClr val="CBCBC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548" y="1046030"/>
            <a:ext cx="2660904" cy="182461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880" y="2876550"/>
            <a:ext cx="4206240" cy="75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157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548" y="1046030"/>
            <a:ext cx="2660904" cy="18246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880" y="2876550"/>
            <a:ext cx="4206240" cy="75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877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413957" y="360870"/>
            <a:ext cx="1419901" cy="438912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413957" y="3738019"/>
            <a:ext cx="1426464" cy="72694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16052" y="3382626"/>
            <a:ext cx="4512564" cy="16158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050">
                <a:solidFill>
                  <a:schemeClr val="tx1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3957" y="3069420"/>
            <a:ext cx="4512564" cy="23083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3957" y="1537354"/>
            <a:ext cx="4512564" cy="144128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413957" y="4642866"/>
            <a:ext cx="3086100" cy="267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0" marR="0" lvl="0" indent="0" algn="l" defTabSz="60364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</a:t>
            </a:r>
          </a:p>
          <a:p>
            <a:pPr marL="0" marR="0" lvl="0" indent="0" algn="l" defTabSz="60364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use of this material without specific permission of McKinsey &amp; Company </a:t>
            </a: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strictly prohibited</a:t>
            </a:r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643"/>
            <a:ext cx="9144000" cy="514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420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36779"/>
            <a:ext cx="8311896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677896"/>
            <a:ext cx="8311896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27767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824900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33036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3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806336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255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94631"/>
            <a:ext cx="6885432" cy="36495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255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42764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a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9565" y="3068464"/>
            <a:ext cx="7315200" cy="34148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49565" y="1504950"/>
            <a:ext cx="7315200" cy="656614"/>
          </a:xfrm>
        </p:spPr>
        <p:txBody>
          <a:bodyPr/>
          <a:lstStyle>
            <a:lvl1pPr algn="l">
              <a:defRPr sz="3200" b="1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9565" y="2209800"/>
            <a:ext cx="7315200" cy="5905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80223" y="4882802"/>
            <a:ext cx="35766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971A1E"/>
                </a:solidFill>
              </a:rPr>
              <a:t>II-VI Incorporated CONFIDENTIAL - Export Control Classification EAR99</a:t>
            </a:r>
            <a:endParaRPr lang="en-US" sz="900" b="1" dirty="0">
              <a:solidFill>
                <a:srgbClr val="971A1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49565" y="3449464"/>
            <a:ext cx="7315200" cy="34148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uthor, 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92" y="186094"/>
            <a:ext cx="1373505" cy="94183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228600"/>
            <a:ext cx="2886582" cy="52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775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786818" y="4840327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786818" y="886430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416052" y="2744734"/>
            <a:ext cx="1885950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418481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503414" y="4840327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503414" y="886430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416052" y="2744733"/>
            <a:ext cx="2599181" cy="184666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482655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929878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929878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416052" y="136779"/>
            <a:ext cx="3799332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416052" y="677896"/>
            <a:ext cx="3799332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382329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130028" y="4840327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130028" y="886430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416052" y="886430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416052" y="136779"/>
            <a:ext cx="5225796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416052" y="677896"/>
            <a:ext cx="5225796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6130028" y="59077"/>
            <a:ext cx="2600206" cy="92333"/>
          </a:xfrm>
        </p:spPr>
        <p:txBody>
          <a:bodyPr wrap="square"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702400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839896" y="4840327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416052" y="4840327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839896" y="886430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6839896" y="59077"/>
            <a:ext cx="1890338" cy="92333"/>
          </a:xfrm>
        </p:spPr>
        <p:txBody>
          <a:bodyPr wrap="square"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416052" y="136779"/>
            <a:ext cx="5939028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416052" y="677896"/>
            <a:ext cx="5939028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352610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16052" y="886430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31378"/>
            <a:ext cx="8311896" cy="7421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526310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772687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411954" y="360870"/>
            <a:ext cx="1419901" cy="438912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788934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7606880" y="4874536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6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5369815" y="66991"/>
            <a:ext cx="3360420" cy="92333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6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938671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5486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66354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281708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9565" y="3068464"/>
            <a:ext cx="7315200" cy="34148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49565" y="1504950"/>
            <a:ext cx="7315200" cy="656614"/>
          </a:xfrm>
        </p:spPr>
        <p:txBody>
          <a:bodyPr/>
          <a:lstStyle>
            <a:lvl1pPr algn="l">
              <a:defRPr sz="3200" b="1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9565" y="2209800"/>
            <a:ext cx="7315200" cy="59055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80223" y="4882802"/>
            <a:ext cx="35766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971A1E"/>
                </a:solidFill>
              </a:rPr>
              <a:t>II-VI Incorporated CONFIDENTIAL - Export Control Classification EAR99</a:t>
            </a:r>
            <a:endParaRPr lang="en-US" sz="900" b="1" dirty="0">
              <a:solidFill>
                <a:srgbClr val="971A1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49565" y="3449464"/>
            <a:ext cx="7315200" cy="34148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uthor,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92" y="186094"/>
            <a:ext cx="1373505" cy="94183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228600"/>
            <a:ext cx="2886582" cy="52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6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413957" y="360870"/>
            <a:ext cx="1419901" cy="438912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413957" y="3738019"/>
            <a:ext cx="1426464" cy="72694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16052" y="3382626"/>
            <a:ext cx="4512564" cy="16158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050">
                <a:solidFill>
                  <a:schemeClr val="tx1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3957" y="3069420"/>
            <a:ext cx="4512564" cy="23083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3957" y="1537354"/>
            <a:ext cx="4512564" cy="144128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413957" y="4642866"/>
            <a:ext cx="3086100" cy="267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0" marR="0" lvl="0" indent="0" algn="l" defTabSz="60364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</a:t>
            </a:r>
          </a:p>
          <a:p>
            <a:pPr marL="0" marR="0" lvl="0" indent="0" algn="l" defTabSz="60364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use of this material without specific permission of McKinsey &amp; Company </a:t>
            </a: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strictly prohibited</a:t>
            </a:r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643"/>
            <a:ext cx="9144000" cy="514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0037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36779"/>
            <a:ext cx="8311896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677896"/>
            <a:ext cx="8311896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237311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451103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695976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9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3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45007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3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255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94631"/>
            <a:ext cx="6885432" cy="36495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255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05806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786818" y="4840327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786818" y="886430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416052" y="2744734"/>
            <a:ext cx="1885950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87968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503414" y="4840327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503414" y="886430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416052" y="2744733"/>
            <a:ext cx="2599181" cy="184666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324206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5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929878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929878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416052" y="136779"/>
            <a:ext cx="3799332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416052" y="677896"/>
            <a:ext cx="3799332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929053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9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130028" y="4840327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130028" y="886430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416052" y="886430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416052" y="136779"/>
            <a:ext cx="5225796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416052" y="677896"/>
            <a:ext cx="5225796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6130028" y="59077"/>
            <a:ext cx="2600206" cy="92333"/>
          </a:xfrm>
        </p:spPr>
        <p:txBody>
          <a:bodyPr wrap="square"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64913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Gray">
    <p:bg>
      <p:bgPr>
        <a:gradFill flip="none" rotWithShape="1">
          <a:gsLst>
            <a:gs pos="16000">
              <a:srgbClr val="FFFFFF"/>
            </a:gs>
            <a:gs pos="68000">
              <a:srgbClr val="F5F5F7"/>
            </a:gs>
            <a:gs pos="100000">
              <a:srgbClr val="E9EAEE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855478"/>
            <a:ext cx="9144000" cy="2880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457199" y="628650"/>
            <a:ext cx="8229600" cy="4169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Box 44"/>
          <p:cNvSpPr txBox="1">
            <a:spLocks noChangeArrowheads="1"/>
          </p:cNvSpPr>
          <p:nvPr userDrawn="1"/>
        </p:nvSpPr>
        <p:spPr bwMode="auto">
          <a:xfrm>
            <a:off x="8153400" y="4882802"/>
            <a:ext cx="7620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r>
              <a:rPr lang="en-US" altLang="ja-JP" sz="900" b="0" dirty="0">
                <a:solidFill>
                  <a:schemeClr val="bg1"/>
                </a:solidFill>
                <a:ea typeface="ＭＳ Ｐゴシック" pitchFamily="50" charset="-128"/>
              </a:rPr>
              <a:t>Page </a:t>
            </a:r>
            <a:fld id="{032EE007-7F05-48DE-8A90-62481044B1DE}" type="slidenum">
              <a:rPr lang="en-US" altLang="ja-JP" sz="900" b="0" smtClean="0">
                <a:solidFill>
                  <a:schemeClr val="bg1"/>
                </a:solidFill>
                <a:ea typeface="ＭＳ Ｐゴシック" pitchFamily="50" charset="-128"/>
              </a:rPr>
              <a:pPr algn="r">
                <a:defRPr/>
              </a:pPr>
              <a:t>‹#›</a:t>
            </a:fld>
            <a:endParaRPr lang="en-US" altLang="ja-JP" sz="900" b="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2666597" y="4882802"/>
            <a:ext cx="34884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0" dirty="0" smtClean="0">
                <a:solidFill>
                  <a:schemeClr val="bg1"/>
                </a:solidFill>
              </a:rPr>
              <a:t>II-VI Incorporated CONFIDENTIAL - Export Control Classification EAR99</a:t>
            </a:r>
            <a:endParaRPr lang="en-US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719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839896" y="4840327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416052" y="4840327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839896" y="886430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6839896" y="59077"/>
            <a:ext cx="1890338" cy="92333"/>
          </a:xfrm>
        </p:spPr>
        <p:txBody>
          <a:bodyPr wrap="square"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416052" y="136779"/>
            <a:ext cx="5939028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416052" y="677896"/>
            <a:ext cx="5939028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573501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16052" y="886430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31378"/>
            <a:ext cx="8311896" cy="7421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59790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314196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411954" y="360870"/>
            <a:ext cx="1419901" cy="438912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33334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7606880" y="4874536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6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5369815" y="66991"/>
            <a:ext cx="3360420" cy="92333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6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492585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5486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66354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726379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9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413957" y="360870"/>
            <a:ext cx="1419901" cy="438912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413957" y="3738019"/>
            <a:ext cx="1426464" cy="72694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16052" y="3382626"/>
            <a:ext cx="4512564" cy="16158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050">
                <a:solidFill>
                  <a:schemeClr val="tx1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3957" y="3069420"/>
            <a:ext cx="4512564" cy="23083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3957" y="1537354"/>
            <a:ext cx="4512564" cy="144128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413957" y="4642866"/>
            <a:ext cx="3086100" cy="267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0" marR="0" lvl="0" indent="0" algn="l" defTabSz="60364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</a:t>
            </a:r>
          </a:p>
          <a:p>
            <a:pPr marL="0" marR="0" lvl="0" indent="0" algn="l" defTabSz="60364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use of this material without specific permission of McKinsey &amp; Company </a:t>
            </a: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strictly prohibited</a:t>
            </a:r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643"/>
            <a:ext cx="9144000" cy="514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2129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36779"/>
            <a:ext cx="8311896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677896"/>
            <a:ext cx="8311896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1095810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41921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80484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855478"/>
            <a:ext cx="9144000" cy="2880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457199" y="628650"/>
            <a:ext cx="8229600" cy="4169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Box 44"/>
          <p:cNvSpPr txBox="1">
            <a:spLocks noChangeArrowheads="1"/>
          </p:cNvSpPr>
          <p:nvPr userDrawn="1"/>
        </p:nvSpPr>
        <p:spPr bwMode="auto">
          <a:xfrm>
            <a:off x="8153400" y="4882802"/>
            <a:ext cx="7620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r>
              <a:rPr lang="en-US" altLang="ja-JP" sz="900" b="0" dirty="0">
                <a:solidFill>
                  <a:schemeClr val="bg1"/>
                </a:solidFill>
                <a:ea typeface="ＭＳ Ｐゴシック" pitchFamily="50" charset="-128"/>
              </a:rPr>
              <a:t>Page </a:t>
            </a:r>
            <a:fld id="{032EE007-7F05-48DE-8A90-62481044B1DE}" type="slidenum">
              <a:rPr lang="en-US" altLang="ja-JP" sz="900" b="0" smtClean="0">
                <a:solidFill>
                  <a:schemeClr val="bg1"/>
                </a:solidFill>
                <a:ea typeface="ＭＳ Ｐゴシック" pitchFamily="50" charset="-128"/>
              </a:rPr>
              <a:pPr algn="r">
                <a:defRPr/>
              </a:pPr>
              <a:t>‹#›</a:t>
            </a:fld>
            <a:endParaRPr lang="en-US" altLang="ja-JP" sz="900" b="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2666597" y="4882802"/>
            <a:ext cx="34884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0" dirty="0" smtClean="0">
                <a:solidFill>
                  <a:schemeClr val="bg1"/>
                </a:solidFill>
              </a:rPr>
              <a:t>II-VI Incorporated CONFIDENTIAL - Export Control Classification EAR99</a:t>
            </a:r>
            <a:endParaRPr lang="en-US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6411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7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3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24349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1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255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94631"/>
            <a:ext cx="6885432" cy="36495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255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220520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786818" y="4840327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786818" y="886430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416052" y="2744734"/>
            <a:ext cx="1885950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428538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503414" y="4840327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503414" y="886430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416052" y="2744733"/>
            <a:ext cx="2599181" cy="184666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50714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3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929878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929878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416052" y="136779"/>
            <a:ext cx="3799332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416052" y="677896"/>
            <a:ext cx="3799332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132137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7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130028" y="4840327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130028" y="886430"/>
            <a:ext cx="259918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416052" y="886430"/>
            <a:ext cx="52257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416052" y="136779"/>
            <a:ext cx="5225796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416052" y="677896"/>
            <a:ext cx="5225796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6130028" y="59077"/>
            <a:ext cx="2600206" cy="92333"/>
          </a:xfrm>
        </p:spPr>
        <p:txBody>
          <a:bodyPr wrap="square"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159167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839896" y="4840327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416052" y="4840327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839896" y="886430"/>
            <a:ext cx="18859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16052" y="886430"/>
            <a:ext cx="59390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6839896" y="59077"/>
            <a:ext cx="1890338" cy="92333"/>
          </a:xfrm>
        </p:spPr>
        <p:txBody>
          <a:bodyPr wrap="square"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416052" y="136779"/>
            <a:ext cx="5939028" cy="5486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416052" y="677896"/>
            <a:ext cx="5939028" cy="207749"/>
          </a:xfrm>
        </p:spPr>
        <p:txBody>
          <a:bodyPr anchor="ctr" anchorCtr="0"/>
          <a:lstStyle/>
          <a:p>
            <a:r>
              <a:rPr lang="en-US" sz="1200"/>
              <a:t>Click to edit Master subtitle sty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509289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16052" y="886430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31378"/>
            <a:ext cx="8311896" cy="7421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993469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369814" y="59077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021363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411954" y="360870"/>
            <a:ext cx="1419901" cy="438912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36762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855478"/>
            <a:ext cx="9144000" cy="2880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457200" y="628650"/>
            <a:ext cx="3937000" cy="41696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3"/>
          </p:nvPr>
        </p:nvSpPr>
        <p:spPr>
          <a:xfrm>
            <a:off x="4749800" y="628650"/>
            <a:ext cx="3937000" cy="41696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Box 44"/>
          <p:cNvSpPr txBox="1">
            <a:spLocks noChangeArrowheads="1"/>
          </p:cNvSpPr>
          <p:nvPr userDrawn="1"/>
        </p:nvSpPr>
        <p:spPr bwMode="auto">
          <a:xfrm>
            <a:off x="8153400" y="4882802"/>
            <a:ext cx="7620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r>
              <a:rPr lang="en-US" altLang="ja-JP" sz="900" b="0" dirty="0">
                <a:solidFill>
                  <a:schemeClr val="bg1"/>
                </a:solidFill>
                <a:ea typeface="ＭＳ Ｐゴシック" pitchFamily="50" charset="-128"/>
              </a:rPr>
              <a:t>Page </a:t>
            </a:r>
            <a:fld id="{032EE007-7F05-48DE-8A90-62481044B1DE}" type="slidenum">
              <a:rPr lang="en-US" altLang="ja-JP" sz="900" b="0" smtClean="0">
                <a:solidFill>
                  <a:schemeClr val="bg1"/>
                </a:solidFill>
                <a:ea typeface="ＭＳ Ｐゴシック" pitchFamily="50" charset="-128"/>
              </a:rPr>
              <a:pPr algn="r">
                <a:defRPr/>
              </a:pPr>
              <a:t>‹#›</a:t>
            </a:fld>
            <a:endParaRPr lang="en-US" altLang="ja-JP" sz="900" b="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666597" y="4882802"/>
            <a:ext cx="34884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0" dirty="0" smtClean="0">
                <a:solidFill>
                  <a:schemeClr val="bg1"/>
                </a:solidFill>
              </a:rPr>
              <a:t>II-VI Incorporated CONFIDENTIAL - Export Control Classification EAR99</a:t>
            </a:r>
            <a:endParaRPr lang="en-US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993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7606880" y="4874536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7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8484394" y="4874066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5369815" y="66991"/>
            <a:ext cx="3360420" cy="92333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6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3589610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5486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66354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47897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855478"/>
            <a:ext cx="9144000" cy="2880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Box 44"/>
          <p:cNvSpPr txBox="1">
            <a:spLocks noChangeArrowheads="1"/>
          </p:cNvSpPr>
          <p:nvPr userDrawn="1"/>
        </p:nvSpPr>
        <p:spPr bwMode="auto">
          <a:xfrm>
            <a:off x="8153400" y="4882802"/>
            <a:ext cx="7620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r>
              <a:rPr lang="en-US" altLang="ja-JP" sz="900" b="0" dirty="0">
                <a:solidFill>
                  <a:schemeClr val="bg1"/>
                </a:solidFill>
                <a:ea typeface="ＭＳ Ｐゴシック" pitchFamily="50" charset="-128"/>
              </a:rPr>
              <a:t>Page </a:t>
            </a:r>
            <a:fld id="{032EE007-7F05-48DE-8A90-62481044B1DE}" type="slidenum">
              <a:rPr lang="en-US" altLang="ja-JP" sz="900" b="0" smtClean="0">
                <a:solidFill>
                  <a:schemeClr val="bg1"/>
                </a:solidFill>
                <a:ea typeface="ＭＳ Ｐゴシック" pitchFamily="50" charset="-128"/>
              </a:rPr>
              <a:pPr algn="r">
                <a:defRPr/>
              </a:pPr>
              <a:t>‹#›</a:t>
            </a:fld>
            <a:endParaRPr lang="en-US" altLang="ja-JP" sz="900" b="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666597" y="4882802"/>
            <a:ext cx="34884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0" dirty="0" smtClean="0">
                <a:solidFill>
                  <a:schemeClr val="bg1"/>
                </a:solidFill>
              </a:rPr>
              <a:t>II-VI Incorporated CONFIDENTIAL - Export Control Classification EAR99</a:t>
            </a:r>
            <a:endParaRPr lang="en-US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159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855478"/>
            <a:ext cx="9144000" cy="288022"/>
          </a:xfrm>
          <a:prstGeom prst="rect">
            <a:avLst/>
          </a:prstGeom>
        </p:spPr>
      </p:pic>
      <p:sp>
        <p:nvSpPr>
          <p:cNvPr id="12" name="Text Box 44"/>
          <p:cNvSpPr txBox="1">
            <a:spLocks noChangeArrowheads="1"/>
          </p:cNvSpPr>
          <p:nvPr userDrawn="1"/>
        </p:nvSpPr>
        <p:spPr bwMode="auto">
          <a:xfrm>
            <a:off x="8153400" y="4882802"/>
            <a:ext cx="7620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r>
              <a:rPr lang="en-US" altLang="ja-JP" sz="900" b="0" dirty="0">
                <a:solidFill>
                  <a:schemeClr val="bg1"/>
                </a:solidFill>
                <a:ea typeface="ＭＳ Ｐゴシック" pitchFamily="50" charset="-128"/>
              </a:rPr>
              <a:t>Page </a:t>
            </a:r>
            <a:fld id="{032EE007-7F05-48DE-8A90-62481044B1DE}" type="slidenum">
              <a:rPr lang="en-US" altLang="ja-JP" sz="900" b="0" smtClean="0">
                <a:solidFill>
                  <a:schemeClr val="bg1"/>
                </a:solidFill>
                <a:ea typeface="ＭＳ Ｐゴシック" pitchFamily="50" charset="-128"/>
              </a:rPr>
              <a:pPr algn="r">
                <a:defRPr/>
              </a:pPr>
              <a:t>‹#›</a:t>
            </a:fld>
            <a:endParaRPr lang="en-US" altLang="ja-JP" sz="900" b="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66597" y="4882802"/>
            <a:ext cx="34884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0" dirty="0" smtClean="0">
                <a:solidFill>
                  <a:schemeClr val="bg1"/>
                </a:solidFill>
              </a:rPr>
              <a:t>II-VI Incorporated CONFIDENTIAL - Export Control Classification EAR99</a:t>
            </a:r>
            <a:endParaRPr lang="en-US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597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le 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33550"/>
            <a:ext cx="9144000" cy="1676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2343150"/>
            <a:ext cx="7772400" cy="480060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ub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662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tags" Target="../tags/tag2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image" Target="../media/image1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vmlDrawing" Target="../drawings/vmlDrawing13.vml"/><Relationship Id="rId26" Type="http://schemas.openxmlformats.org/officeDocument/2006/relationships/tags" Target="../tags/tag159.xml"/><Relationship Id="rId39" Type="http://schemas.openxmlformats.org/officeDocument/2006/relationships/tags" Target="../tags/tag172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154.xml"/><Relationship Id="rId34" Type="http://schemas.openxmlformats.org/officeDocument/2006/relationships/tags" Target="../tags/tag167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heme" Target="../theme/theme3.xml"/><Relationship Id="rId25" Type="http://schemas.openxmlformats.org/officeDocument/2006/relationships/tags" Target="../tags/tag158.xml"/><Relationship Id="rId33" Type="http://schemas.openxmlformats.org/officeDocument/2006/relationships/tags" Target="../tags/tag166.xml"/><Relationship Id="rId38" Type="http://schemas.openxmlformats.org/officeDocument/2006/relationships/tags" Target="../tags/tag171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ags" Target="../tags/tag153.xml"/><Relationship Id="rId29" Type="http://schemas.openxmlformats.org/officeDocument/2006/relationships/tags" Target="../tags/tag162.xml"/><Relationship Id="rId41" Type="http://schemas.openxmlformats.org/officeDocument/2006/relationships/tags" Target="../tags/tag174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57.xml"/><Relationship Id="rId32" Type="http://schemas.openxmlformats.org/officeDocument/2006/relationships/tags" Target="../tags/tag165.xml"/><Relationship Id="rId37" Type="http://schemas.openxmlformats.org/officeDocument/2006/relationships/tags" Target="../tags/tag170.xml"/><Relationship Id="rId40" Type="http://schemas.openxmlformats.org/officeDocument/2006/relationships/tags" Target="../tags/tag17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tags" Target="../tags/tag156.xml"/><Relationship Id="rId28" Type="http://schemas.openxmlformats.org/officeDocument/2006/relationships/tags" Target="../tags/tag161.xml"/><Relationship Id="rId36" Type="http://schemas.openxmlformats.org/officeDocument/2006/relationships/tags" Target="../tags/tag169.xml"/><Relationship Id="rId10" Type="http://schemas.openxmlformats.org/officeDocument/2006/relationships/slideLayout" Target="../slideLayouts/slideLayout39.xml"/><Relationship Id="rId19" Type="http://schemas.openxmlformats.org/officeDocument/2006/relationships/tags" Target="../tags/tag152.xml"/><Relationship Id="rId31" Type="http://schemas.openxmlformats.org/officeDocument/2006/relationships/tags" Target="../tags/tag16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tags" Target="../tags/tag163.xml"/><Relationship Id="rId35" Type="http://schemas.openxmlformats.org/officeDocument/2006/relationships/tags" Target="../tags/tag168.xml"/><Relationship Id="rId43" Type="http://schemas.openxmlformats.org/officeDocument/2006/relationships/image" Target="../media/image13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vmlDrawing" Target="../drawings/vmlDrawing25.vml"/><Relationship Id="rId26" Type="http://schemas.openxmlformats.org/officeDocument/2006/relationships/tags" Target="../tags/tag310.xml"/><Relationship Id="rId39" Type="http://schemas.openxmlformats.org/officeDocument/2006/relationships/tags" Target="../tags/tag323.xml"/><Relationship Id="rId3" Type="http://schemas.openxmlformats.org/officeDocument/2006/relationships/slideLayout" Target="../slideLayouts/slideLayout48.xml"/><Relationship Id="rId21" Type="http://schemas.openxmlformats.org/officeDocument/2006/relationships/tags" Target="../tags/tag305.xml"/><Relationship Id="rId34" Type="http://schemas.openxmlformats.org/officeDocument/2006/relationships/tags" Target="../tags/tag318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4.xml"/><Relationship Id="rId25" Type="http://schemas.openxmlformats.org/officeDocument/2006/relationships/tags" Target="../tags/tag309.xml"/><Relationship Id="rId33" Type="http://schemas.openxmlformats.org/officeDocument/2006/relationships/tags" Target="../tags/tag317.xml"/><Relationship Id="rId38" Type="http://schemas.openxmlformats.org/officeDocument/2006/relationships/tags" Target="../tags/tag32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tags" Target="../tags/tag304.xml"/><Relationship Id="rId29" Type="http://schemas.openxmlformats.org/officeDocument/2006/relationships/tags" Target="../tags/tag313.xml"/><Relationship Id="rId41" Type="http://schemas.openxmlformats.org/officeDocument/2006/relationships/tags" Target="../tags/tag32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tags" Target="../tags/tag308.xml"/><Relationship Id="rId32" Type="http://schemas.openxmlformats.org/officeDocument/2006/relationships/tags" Target="../tags/tag316.xml"/><Relationship Id="rId37" Type="http://schemas.openxmlformats.org/officeDocument/2006/relationships/tags" Target="../tags/tag321.xml"/><Relationship Id="rId40" Type="http://schemas.openxmlformats.org/officeDocument/2006/relationships/tags" Target="../tags/tag324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tags" Target="../tags/tag307.xml"/><Relationship Id="rId28" Type="http://schemas.openxmlformats.org/officeDocument/2006/relationships/tags" Target="../tags/tag312.xml"/><Relationship Id="rId36" Type="http://schemas.openxmlformats.org/officeDocument/2006/relationships/tags" Target="../tags/tag320.xml"/><Relationship Id="rId10" Type="http://schemas.openxmlformats.org/officeDocument/2006/relationships/slideLayout" Target="../slideLayouts/slideLayout55.xml"/><Relationship Id="rId19" Type="http://schemas.openxmlformats.org/officeDocument/2006/relationships/tags" Target="../tags/tag303.xml"/><Relationship Id="rId31" Type="http://schemas.openxmlformats.org/officeDocument/2006/relationships/tags" Target="../tags/tag31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tags" Target="../tags/tag306.xml"/><Relationship Id="rId27" Type="http://schemas.openxmlformats.org/officeDocument/2006/relationships/tags" Target="../tags/tag311.xml"/><Relationship Id="rId30" Type="http://schemas.openxmlformats.org/officeDocument/2006/relationships/tags" Target="../tags/tag314.xml"/><Relationship Id="rId35" Type="http://schemas.openxmlformats.org/officeDocument/2006/relationships/tags" Target="../tags/tag319.xml"/><Relationship Id="rId43" Type="http://schemas.openxmlformats.org/officeDocument/2006/relationships/image" Target="../media/image1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4800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457200" y="628650"/>
            <a:ext cx="8229600" cy="43205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1" r:id="rId2"/>
    <p:sldLayoutId id="2147483673" r:id="rId3"/>
    <p:sldLayoutId id="2147483668" r:id="rId4"/>
    <p:sldLayoutId id="2147483674" r:id="rId5"/>
    <p:sldLayoutId id="2147483669" r:id="rId6"/>
    <p:sldLayoutId id="2147483670" r:id="rId7"/>
    <p:sldLayoutId id="2147483664" r:id="rId8"/>
    <p:sldLayoutId id="2147483677" r:id="rId9"/>
    <p:sldLayoutId id="2147483678" r:id="rId10"/>
    <p:sldLayoutId id="2147483665" r:id="rId11"/>
    <p:sldLayoutId id="2147483675" r:id="rId12"/>
    <p:sldLayoutId id="2147483676" r:id="rId1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lang="en-US" sz="3200" b="1" kern="1200" dirty="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rgbClr val="971A1E"/>
        </a:buClr>
        <a:buSzTx/>
        <a:buFont typeface="Wingdings" pitchFamily="2" charset="2"/>
        <a:buChar char="§"/>
        <a:tabLst/>
        <a:defRPr kumimoji="0" lang="en-US" sz="2000" b="1" i="0" u="none" strike="noStrike" kern="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Calibri" panose="020F0502020204030204" pitchFamily="34" charset="0"/>
          <a:ea typeface="+mn-ea"/>
          <a:cs typeface="+mn-cs"/>
        </a:defRPr>
      </a:lvl1pPr>
      <a:lvl2pPr marL="742950" marR="0" indent="-28575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rgbClr val="971A1E"/>
        </a:buClr>
        <a:buSzTx/>
        <a:buFontTx/>
        <a:buChar char="•"/>
        <a:tabLst/>
        <a:defRPr kumimoji="0" lang="en-US" sz="1800" b="0" i="0" u="none" strike="noStrike" kern="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Calibri" panose="020F0502020204030204" pitchFamily="34" charset="0"/>
          <a:ea typeface="+mn-ea"/>
          <a:cs typeface="+mn-cs"/>
        </a:defRPr>
      </a:lvl2pPr>
      <a:lvl3pPr marL="1143000" marR="0" indent="-2286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rgbClr val="971A1E"/>
        </a:buClr>
        <a:buSzTx/>
        <a:buFontTx/>
        <a:buChar char="•"/>
        <a:tabLst/>
        <a:defRPr kumimoji="0" lang="en-US" sz="1600" b="0" i="0" u="none" strike="noStrike" kern="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Calibri" panose="020F0502020204030204" pitchFamily="34" charset="0"/>
          <a:ea typeface="+mn-ea"/>
          <a:cs typeface="+mn-cs"/>
        </a:defRPr>
      </a:lvl3pPr>
      <a:lvl4pPr marL="1600200" marR="0" indent="-2286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Tx/>
        <a:buChar char="–"/>
        <a:tabLst/>
        <a:defRPr kumimoji="0" lang="en-US" sz="1400" b="0" i="0" u="none" strike="noStrike" kern="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Calibri" panose="020F0502020204030204" pitchFamily="34" charset="0"/>
          <a:ea typeface="+mn-ea"/>
          <a:cs typeface="+mn-cs"/>
        </a:defRPr>
      </a:lvl4pPr>
      <a:lvl5pPr marL="2057400" marR="0" indent="-2286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Tx/>
        <a:buChar char="»"/>
        <a:tabLst/>
        <a:defRPr kumimoji="0" lang="en-US" sz="1200" b="0" i="0" u="none" strike="noStrike" kern="0" cap="none" spc="0" normalizeH="0" baseline="0" dirty="0">
          <a:ln>
            <a:noFill/>
          </a:ln>
          <a:solidFill>
            <a:srgbClr val="000000"/>
          </a:solidFill>
          <a:effectLst/>
          <a:uLnTx/>
          <a:uFillTx/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416052" y="886430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15479" y="4709272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416052" y="129159"/>
            <a:ext cx="8311896" cy="548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1628775"/>
            <a:ext cx="8311896" cy="18928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8046005" y="3242699"/>
            <a:ext cx="738650" cy="1287961"/>
            <a:chOff x="9585951" y="2980104"/>
            <a:chExt cx="984866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8" y="2980104"/>
              <a:ext cx="65871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0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2"/>
              <a:ext cx="65311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8019000" y="1004401"/>
            <a:ext cx="767712" cy="1298894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2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18643" y="966955"/>
            <a:ext cx="322652" cy="122341"/>
            <a:chOff x="8456447" y="272180"/>
            <a:chExt cx="322636" cy="163089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636" cy="16308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marL="0" marR="0" lvl="0" indent="0" algn="l" defTabSz="8953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38" normalizeH="0" baseline="0" noProof="0" dirty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7830001" y="2432698"/>
            <a:ext cx="952001" cy="718715"/>
            <a:chOff x="4372690" y="3739100"/>
            <a:chExt cx="1269335" cy="958287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0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4111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</p:sldLayoutIdLst>
  <p:txStyles>
    <p:titleStyle>
      <a:lvl1pPr algn="l" defTabSz="685800" rtl="0" eaLnBrk="1" latinLnBrk="0" hangingPunct="1">
        <a:lnSpc>
          <a:spcPct val="93000"/>
        </a:lnSpc>
        <a:spcBef>
          <a:spcPct val="0"/>
        </a:spcBef>
        <a:buNone/>
        <a:defRPr sz="1875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Font typeface="Segoe UI" panose="020B0502040204020203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Wingdings" panose="05000000000000000000" pitchFamily="2" charset="2"/>
        <a:buChar char="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86954" indent="-21550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—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57213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85800" indent="-10239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7"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416052" y="886430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15479" y="4709272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416052" y="129159"/>
            <a:ext cx="8311896" cy="548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1628775"/>
            <a:ext cx="8311896" cy="18928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8046005" y="3242699"/>
            <a:ext cx="738650" cy="1287961"/>
            <a:chOff x="9585951" y="2980104"/>
            <a:chExt cx="984866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8" y="2980104"/>
              <a:ext cx="65871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0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2"/>
              <a:ext cx="65311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8019000" y="1004401"/>
            <a:ext cx="767712" cy="1298894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2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18643" y="966955"/>
            <a:ext cx="322652" cy="122341"/>
            <a:chOff x="8456447" y="272180"/>
            <a:chExt cx="322636" cy="163089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636" cy="16308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marL="0" marR="0" lvl="0" indent="0" algn="l" defTabSz="8953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38" normalizeH="0" baseline="0" noProof="0" dirty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7830001" y="2432698"/>
            <a:ext cx="952001" cy="718715"/>
            <a:chOff x="4372690" y="3739100"/>
            <a:chExt cx="1269335" cy="958287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0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429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</p:sldLayoutIdLst>
  <p:txStyles>
    <p:titleStyle>
      <a:lvl1pPr algn="l" defTabSz="685800" rtl="0" eaLnBrk="1" latinLnBrk="0" hangingPunct="1">
        <a:lnSpc>
          <a:spcPct val="93000"/>
        </a:lnSpc>
        <a:spcBef>
          <a:spcPct val="0"/>
        </a:spcBef>
        <a:buNone/>
        <a:defRPr sz="1875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Font typeface="Segoe UI" panose="020B0502040204020203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Wingdings" panose="05000000000000000000" pitchFamily="2" charset="2"/>
        <a:buChar char="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86954" indent="-21550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—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57213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85800" indent="-10239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5"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416052" y="886430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15479" y="4709272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416052" y="129159"/>
            <a:ext cx="8311896" cy="548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1628775"/>
            <a:ext cx="8311896" cy="18928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8046005" y="3242699"/>
            <a:ext cx="738650" cy="1287961"/>
            <a:chOff x="9585951" y="2980104"/>
            <a:chExt cx="984866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8" y="2980104"/>
              <a:ext cx="65871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0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2"/>
              <a:ext cx="65311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8019000" y="1004401"/>
            <a:ext cx="767712" cy="1298894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2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18643" y="966955"/>
            <a:ext cx="322652" cy="122341"/>
            <a:chOff x="8456447" y="272180"/>
            <a:chExt cx="322636" cy="163089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636" cy="16308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marL="0" marR="0" lvl="0" indent="0" algn="l" defTabSz="8953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675" b="1" i="0" u="none" strike="noStrike" kern="1200" cap="none" spc="38" normalizeH="0" baseline="0" noProof="0" dirty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7830001" y="2432698"/>
            <a:ext cx="952001" cy="718715"/>
            <a:chOff x="4372690" y="3739100"/>
            <a:chExt cx="1269335" cy="958287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0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961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</p:sldLayoutIdLst>
  <p:txStyles>
    <p:titleStyle>
      <a:lvl1pPr algn="l" defTabSz="685800" rtl="0" eaLnBrk="1" latinLnBrk="0" hangingPunct="1">
        <a:lnSpc>
          <a:spcPct val="93000"/>
        </a:lnSpc>
        <a:spcBef>
          <a:spcPct val="0"/>
        </a:spcBef>
        <a:buNone/>
        <a:defRPr sz="1875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Font typeface="Segoe UI" panose="020B0502040204020203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Wingdings" panose="05000000000000000000" pitchFamily="2" charset="2"/>
        <a:buChar char="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86954" indent="-21550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—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57213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85800" indent="-10239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6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://wuxinpi.chn.ii-vi.net:9091/Main/VCSELAIDemo" TargetMode="External"/><Relationship Id="rId3" Type="http://schemas.openxmlformats.org/officeDocument/2006/relationships/image" Target="../media/image48.jpg"/><Relationship Id="rId7" Type="http://schemas.openxmlformats.org/officeDocument/2006/relationships/image" Target="../media/image52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jpg"/><Relationship Id="rId5" Type="http://schemas.openxmlformats.org/officeDocument/2006/relationships/image" Target="../media/image50.jpg"/><Relationship Id="rId4" Type="http://schemas.openxmlformats.org/officeDocument/2006/relationships/image" Target="../media/image49.jp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image" Target="../media/image55.png"/><Relationship Id="rId7" Type="http://schemas.openxmlformats.org/officeDocument/2006/relationships/image" Target="../media/image58.jpeg"/><Relationship Id="rId12" Type="http://schemas.openxmlformats.org/officeDocument/2006/relationships/image" Target="../media/image63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7.png"/><Relationship Id="rId11" Type="http://schemas.openxmlformats.org/officeDocument/2006/relationships/image" Target="../media/image62.jpeg"/><Relationship Id="rId5" Type="http://schemas.openxmlformats.org/officeDocument/2006/relationships/image" Target="../media/image45.PNG"/><Relationship Id="rId10" Type="http://schemas.openxmlformats.org/officeDocument/2006/relationships/image" Target="../media/image61.jpeg"/><Relationship Id="rId4" Type="http://schemas.openxmlformats.org/officeDocument/2006/relationships/image" Target="../media/image56.png"/><Relationship Id="rId9" Type="http://schemas.openxmlformats.org/officeDocument/2006/relationships/image" Target="../media/image6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wuxinpi.chn.ii-vi.net:9091/OGPXY/OGPXYProfessionReview" TargetMode="External"/><Relationship Id="rId4" Type="http://schemas.openxmlformats.org/officeDocument/2006/relationships/image" Target="../media/image6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G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3.jpeg"/><Relationship Id="rId4" Type="http://schemas.openxmlformats.org/officeDocument/2006/relationships/image" Target="../media/image72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60.xml"/><Relationship Id="rId13" Type="http://schemas.openxmlformats.org/officeDocument/2006/relationships/image" Target="../media/image20.png"/><Relationship Id="rId3" Type="http://schemas.openxmlformats.org/officeDocument/2006/relationships/tags" Target="../tags/tag455.xml"/><Relationship Id="rId7" Type="http://schemas.openxmlformats.org/officeDocument/2006/relationships/tags" Target="../tags/tag459.xml"/><Relationship Id="rId12" Type="http://schemas.openxmlformats.org/officeDocument/2006/relationships/image" Target="../media/image19.emf"/><Relationship Id="rId17" Type="http://schemas.openxmlformats.org/officeDocument/2006/relationships/image" Target="../media/image24.png"/><Relationship Id="rId2" Type="http://schemas.openxmlformats.org/officeDocument/2006/relationships/tags" Target="../tags/tag454.xml"/><Relationship Id="rId16" Type="http://schemas.openxmlformats.org/officeDocument/2006/relationships/image" Target="../media/image23.png"/><Relationship Id="rId1" Type="http://schemas.openxmlformats.org/officeDocument/2006/relationships/vmlDrawing" Target="../drawings/vmlDrawing37.vml"/><Relationship Id="rId6" Type="http://schemas.openxmlformats.org/officeDocument/2006/relationships/tags" Target="../tags/tag458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457.xml"/><Relationship Id="rId15" Type="http://schemas.openxmlformats.org/officeDocument/2006/relationships/image" Target="../media/image22.png"/><Relationship Id="rId10" Type="http://schemas.openxmlformats.org/officeDocument/2006/relationships/notesSlide" Target="../notesSlides/notesSlide1.xml"/><Relationship Id="rId4" Type="http://schemas.openxmlformats.org/officeDocument/2006/relationships/tags" Target="../tags/tag456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67.xml"/><Relationship Id="rId13" Type="http://schemas.openxmlformats.org/officeDocument/2006/relationships/tags" Target="../tags/tag472.xml"/><Relationship Id="rId18" Type="http://schemas.openxmlformats.org/officeDocument/2006/relationships/tags" Target="../tags/tag477.xml"/><Relationship Id="rId26" Type="http://schemas.openxmlformats.org/officeDocument/2006/relationships/tags" Target="../tags/tag485.xml"/><Relationship Id="rId39" Type="http://schemas.openxmlformats.org/officeDocument/2006/relationships/chart" Target="../charts/chart2.xml"/><Relationship Id="rId3" Type="http://schemas.openxmlformats.org/officeDocument/2006/relationships/tags" Target="../tags/tag462.xml"/><Relationship Id="rId21" Type="http://schemas.openxmlformats.org/officeDocument/2006/relationships/tags" Target="../tags/tag480.xml"/><Relationship Id="rId34" Type="http://schemas.openxmlformats.org/officeDocument/2006/relationships/tags" Target="../tags/tag493.xml"/><Relationship Id="rId42" Type="http://schemas.openxmlformats.org/officeDocument/2006/relationships/image" Target="../media/image27.png"/><Relationship Id="rId7" Type="http://schemas.openxmlformats.org/officeDocument/2006/relationships/tags" Target="../tags/tag466.xml"/><Relationship Id="rId12" Type="http://schemas.openxmlformats.org/officeDocument/2006/relationships/tags" Target="../tags/tag471.xml"/><Relationship Id="rId17" Type="http://schemas.openxmlformats.org/officeDocument/2006/relationships/tags" Target="../tags/tag476.xml"/><Relationship Id="rId25" Type="http://schemas.openxmlformats.org/officeDocument/2006/relationships/tags" Target="../tags/tag484.xml"/><Relationship Id="rId33" Type="http://schemas.openxmlformats.org/officeDocument/2006/relationships/tags" Target="../tags/tag492.xml"/><Relationship Id="rId38" Type="http://schemas.openxmlformats.org/officeDocument/2006/relationships/chart" Target="../charts/chart1.xml"/><Relationship Id="rId2" Type="http://schemas.openxmlformats.org/officeDocument/2006/relationships/tags" Target="../tags/tag461.xml"/><Relationship Id="rId16" Type="http://schemas.openxmlformats.org/officeDocument/2006/relationships/tags" Target="../tags/tag475.xml"/><Relationship Id="rId20" Type="http://schemas.openxmlformats.org/officeDocument/2006/relationships/tags" Target="../tags/tag479.xml"/><Relationship Id="rId29" Type="http://schemas.openxmlformats.org/officeDocument/2006/relationships/tags" Target="../tags/tag488.xml"/><Relationship Id="rId41" Type="http://schemas.openxmlformats.org/officeDocument/2006/relationships/image" Target="../media/image26.png"/><Relationship Id="rId1" Type="http://schemas.openxmlformats.org/officeDocument/2006/relationships/vmlDrawing" Target="../drawings/vmlDrawing38.vml"/><Relationship Id="rId6" Type="http://schemas.openxmlformats.org/officeDocument/2006/relationships/tags" Target="../tags/tag465.xml"/><Relationship Id="rId11" Type="http://schemas.openxmlformats.org/officeDocument/2006/relationships/tags" Target="../tags/tag470.xml"/><Relationship Id="rId24" Type="http://schemas.openxmlformats.org/officeDocument/2006/relationships/tags" Target="../tags/tag483.xml"/><Relationship Id="rId32" Type="http://schemas.openxmlformats.org/officeDocument/2006/relationships/tags" Target="../tags/tag491.xml"/><Relationship Id="rId37" Type="http://schemas.openxmlformats.org/officeDocument/2006/relationships/image" Target="../media/image25.emf"/><Relationship Id="rId40" Type="http://schemas.openxmlformats.org/officeDocument/2006/relationships/chart" Target="../charts/chart3.xml"/><Relationship Id="rId45" Type="http://schemas.openxmlformats.org/officeDocument/2006/relationships/image" Target="../media/image30.png"/><Relationship Id="rId5" Type="http://schemas.openxmlformats.org/officeDocument/2006/relationships/tags" Target="../tags/tag464.xml"/><Relationship Id="rId15" Type="http://schemas.openxmlformats.org/officeDocument/2006/relationships/tags" Target="../tags/tag474.xml"/><Relationship Id="rId23" Type="http://schemas.openxmlformats.org/officeDocument/2006/relationships/tags" Target="../tags/tag482.xml"/><Relationship Id="rId28" Type="http://schemas.openxmlformats.org/officeDocument/2006/relationships/tags" Target="../tags/tag487.xml"/><Relationship Id="rId36" Type="http://schemas.openxmlformats.org/officeDocument/2006/relationships/oleObject" Target="../embeddings/oleObject14.bin"/><Relationship Id="rId10" Type="http://schemas.openxmlformats.org/officeDocument/2006/relationships/tags" Target="../tags/tag469.xml"/><Relationship Id="rId19" Type="http://schemas.openxmlformats.org/officeDocument/2006/relationships/tags" Target="../tags/tag478.xml"/><Relationship Id="rId31" Type="http://schemas.openxmlformats.org/officeDocument/2006/relationships/tags" Target="../tags/tag490.xml"/><Relationship Id="rId44" Type="http://schemas.openxmlformats.org/officeDocument/2006/relationships/image" Target="../media/image29.png"/><Relationship Id="rId4" Type="http://schemas.openxmlformats.org/officeDocument/2006/relationships/tags" Target="../tags/tag463.xml"/><Relationship Id="rId9" Type="http://schemas.openxmlformats.org/officeDocument/2006/relationships/tags" Target="../tags/tag468.xml"/><Relationship Id="rId14" Type="http://schemas.openxmlformats.org/officeDocument/2006/relationships/tags" Target="../tags/tag473.xml"/><Relationship Id="rId22" Type="http://schemas.openxmlformats.org/officeDocument/2006/relationships/tags" Target="../tags/tag481.xml"/><Relationship Id="rId27" Type="http://schemas.openxmlformats.org/officeDocument/2006/relationships/tags" Target="../tags/tag486.xml"/><Relationship Id="rId30" Type="http://schemas.openxmlformats.org/officeDocument/2006/relationships/tags" Target="../tags/tag489.xml"/><Relationship Id="rId35" Type="http://schemas.openxmlformats.org/officeDocument/2006/relationships/slideLayout" Target="../slideLayouts/slideLayout31.xml"/><Relationship Id="rId43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13" Type="http://schemas.openxmlformats.org/officeDocument/2006/relationships/tags" Target="../tags/tag505.xml"/><Relationship Id="rId18" Type="http://schemas.openxmlformats.org/officeDocument/2006/relationships/tags" Target="../tags/tag510.xml"/><Relationship Id="rId26" Type="http://schemas.openxmlformats.org/officeDocument/2006/relationships/tags" Target="../tags/tag518.xml"/><Relationship Id="rId39" Type="http://schemas.openxmlformats.org/officeDocument/2006/relationships/image" Target="../media/image34.png"/><Relationship Id="rId3" Type="http://schemas.openxmlformats.org/officeDocument/2006/relationships/tags" Target="../tags/tag495.xml"/><Relationship Id="rId21" Type="http://schemas.openxmlformats.org/officeDocument/2006/relationships/tags" Target="../tags/tag513.xml"/><Relationship Id="rId34" Type="http://schemas.openxmlformats.org/officeDocument/2006/relationships/image" Target="../media/image26.svg"/><Relationship Id="rId7" Type="http://schemas.openxmlformats.org/officeDocument/2006/relationships/tags" Target="../tags/tag499.xml"/><Relationship Id="rId12" Type="http://schemas.openxmlformats.org/officeDocument/2006/relationships/tags" Target="../tags/tag504.xml"/><Relationship Id="rId17" Type="http://schemas.openxmlformats.org/officeDocument/2006/relationships/tags" Target="../tags/tag509.xml"/><Relationship Id="rId25" Type="http://schemas.openxmlformats.org/officeDocument/2006/relationships/tags" Target="../tags/tag517.xml"/><Relationship Id="rId33" Type="http://schemas.openxmlformats.org/officeDocument/2006/relationships/image" Target="../media/image31.png"/><Relationship Id="rId38" Type="http://schemas.openxmlformats.org/officeDocument/2006/relationships/image" Target="../media/image30.svg"/><Relationship Id="rId2" Type="http://schemas.openxmlformats.org/officeDocument/2006/relationships/tags" Target="../tags/tag494.xml"/><Relationship Id="rId16" Type="http://schemas.openxmlformats.org/officeDocument/2006/relationships/tags" Target="../tags/tag508.xml"/><Relationship Id="rId20" Type="http://schemas.openxmlformats.org/officeDocument/2006/relationships/tags" Target="../tags/tag512.xml"/><Relationship Id="rId29" Type="http://schemas.openxmlformats.org/officeDocument/2006/relationships/slideLayout" Target="../slideLayouts/slideLayout47.xml"/><Relationship Id="rId1" Type="http://schemas.openxmlformats.org/officeDocument/2006/relationships/vmlDrawing" Target="../drawings/vmlDrawing39.vml"/><Relationship Id="rId6" Type="http://schemas.openxmlformats.org/officeDocument/2006/relationships/tags" Target="../tags/tag498.xml"/><Relationship Id="rId11" Type="http://schemas.openxmlformats.org/officeDocument/2006/relationships/tags" Target="../tags/tag503.xml"/><Relationship Id="rId24" Type="http://schemas.openxmlformats.org/officeDocument/2006/relationships/tags" Target="../tags/tag516.xml"/><Relationship Id="rId32" Type="http://schemas.openxmlformats.org/officeDocument/2006/relationships/image" Target="../media/image25.emf"/><Relationship Id="rId37" Type="http://schemas.openxmlformats.org/officeDocument/2006/relationships/image" Target="../media/image33.png"/><Relationship Id="rId40" Type="http://schemas.openxmlformats.org/officeDocument/2006/relationships/image" Target="../media/image32.svg"/><Relationship Id="rId5" Type="http://schemas.openxmlformats.org/officeDocument/2006/relationships/tags" Target="../tags/tag497.xml"/><Relationship Id="rId15" Type="http://schemas.openxmlformats.org/officeDocument/2006/relationships/tags" Target="../tags/tag507.xml"/><Relationship Id="rId23" Type="http://schemas.openxmlformats.org/officeDocument/2006/relationships/tags" Target="../tags/tag515.xml"/><Relationship Id="rId28" Type="http://schemas.openxmlformats.org/officeDocument/2006/relationships/tags" Target="../tags/tag520.xml"/><Relationship Id="rId36" Type="http://schemas.openxmlformats.org/officeDocument/2006/relationships/image" Target="../media/image28.svg"/><Relationship Id="rId10" Type="http://schemas.openxmlformats.org/officeDocument/2006/relationships/tags" Target="../tags/tag502.xml"/><Relationship Id="rId19" Type="http://schemas.openxmlformats.org/officeDocument/2006/relationships/tags" Target="../tags/tag511.xml"/><Relationship Id="rId31" Type="http://schemas.openxmlformats.org/officeDocument/2006/relationships/oleObject" Target="../embeddings/oleObject15.bin"/><Relationship Id="rId4" Type="http://schemas.openxmlformats.org/officeDocument/2006/relationships/tags" Target="../tags/tag496.xml"/><Relationship Id="rId9" Type="http://schemas.openxmlformats.org/officeDocument/2006/relationships/tags" Target="../tags/tag501.xml"/><Relationship Id="rId14" Type="http://schemas.openxmlformats.org/officeDocument/2006/relationships/tags" Target="../tags/tag506.xml"/><Relationship Id="rId22" Type="http://schemas.openxmlformats.org/officeDocument/2006/relationships/tags" Target="../tags/tag514.xml"/><Relationship Id="rId27" Type="http://schemas.openxmlformats.org/officeDocument/2006/relationships/tags" Target="../tags/tag519.xml"/><Relationship Id="rId30" Type="http://schemas.openxmlformats.org/officeDocument/2006/relationships/notesSlide" Target="../notesSlides/notesSlide2.xml"/><Relationship Id="rId35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07/01/2021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UXI AI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Brad Qi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43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CR THEORY </a:t>
            </a:r>
            <a:endParaRPr lang="en-US" dirty="0"/>
          </a:p>
        </p:txBody>
      </p:sp>
      <p:sp>
        <p:nvSpPr>
          <p:cNvPr id="5" name="Right Arrow 4"/>
          <p:cNvSpPr/>
          <p:nvPr/>
        </p:nvSpPr>
        <p:spPr>
          <a:xfrm>
            <a:off x="1828800" y="1364725"/>
            <a:ext cx="609600" cy="1890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4600" y="925865"/>
            <a:ext cx="1784466" cy="1066800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>
          <a:xfrm>
            <a:off x="2590800" y="3300151"/>
            <a:ext cx="609600" cy="1890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5562600" y="2876550"/>
            <a:ext cx="990600" cy="103628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I model</a:t>
            </a:r>
            <a:endParaRPr lang="en-US" dirty="0"/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5" y="1057535"/>
            <a:ext cx="883885" cy="883885"/>
          </a:xfrm>
        </p:spPr>
      </p:pic>
      <p:sp>
        <p:nvSpPr>
          <p:cNvPr id="12" name="Rounded Rectangle 11"/>
          <p:cNvSpPr/>
          <p:nvPr/>
        </p:nvSpPr>
        <p:spPr>
          <a:xfrm>
            <a:off x="3276600" y="2876550"/>
            <a:ext cx="1524000" cy="103628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I(</a:t>
            </a:r>
            <a:r>
              <a:rPr lang="en-US" sz="1200" dirty="0" smtClean="0"/>
              <a:t>TENSORFLOW</a:t>
            </a:r>
            <a:r>
              <a:rPr lang="en-US" dirty="0" smtClean="0"/>
              <a:t>)/ML  (</a:t>
            </a:r>
            <a:r>
              <a:rPr lang="en-US" sz="1200" dirty="0" smtClean="0"/>
              <a:t>KNN,SVM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868715" y="2876550"/>
            <a:ext cx="1569685" cy="103628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MAGE-LABEL KNOWLEDGE LIBRARY</a:t>
            </a:r>
            <a:endParaRPr lang="en-US" dirty="0"/>
          </a:p>
        </p:txBody>
      </p:sp>
      <p:sp>
        <p:nvSpPr>
          <p:cNvPr id="14" name="Right Arrow 13"/>
          <p:cNvSpPr/>
          <p:nvPr/>
        </p:nvSpPr>
        <p:spPr>
          <a:xfrm>
            <a:off x="4876800" y="3300149"/>
            <a:ext cx="609600" cy="1890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4419600" y="1499477"/>
            <a:ext cx="1524000" cy="12246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ight Arrow 17"/>
          <p:cNvSpPr/>
          <p:nvPr/>
        </p:nvSpPr>
        <p:spPr>
          <a:xfrm>
            <a:off x="6705600" y="3300149"/>
            <a:ext cx="533400" cy="1890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/>
          <p:cNvSpPr/>
          <p:nvPr/>
        </p:nvSpPr>
        <p:spPr>
          <a:xfrm>
            <a:off x="7315200" y="2876550"/>
            <a:ext cx="1143000" cy="103628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UTPUT</a:t>
            </a:r>
          </a:p>
          <a:p>
            <a:pPr algn="ctr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02034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KYEYE IMAGE CAPTURE PROCESS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882215" y="971550"/>
            <a:ext cx="7379570" cy="3241811"/>
            <a:chOff x="838200" y="1276350"/>
            <a:chExt cx="7379570" cy="3241811"/>
          </a:xfrm>
        </p:grpSpPr>
        <p:sp>
          <p:nvSpPr>
            <p:cNvPr id="12" name="Right Arrow 11"/>
            <p:cNvSpPr/>
            <p:nvPr/>
          </p:nvSpPr>
          <p:spPr>
            <a:xfrm>
              <a:off x="3375449" y="1737639"/>
              <a:ext cx="304800" cy="51069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Arrow 17"/>
            <p:cNvSpPr/>
            <p:nvPr/>
          </p:nvSpPr>
          <p:spPr>
            <a:xfrm>
              <a:off x="5145413" y="1665888"/>
              <a:ext cx="304800" cy="7360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838200" y="1276350"/>
              <a:ext cx="7379570" cy="3241811"/>
              <a:chOff x="826222" y="1303324"/>
              <a:chExt cx="7379570" cy="3241811"/>
            </a:xfrm>
          </p:grpSpPr>
          <p:sp>
            <p:nvSpPr>
              <p:cNvPr id="4" name="Rounded Rectangle 3"/>
              <p:cNvSpPr/>
              <p:nvPr/>
            </p:nvSpPr>
            <p:spPr>
              <a:xfrm>
                <a:off x="826222" y="1357505"/>
                <a:ext cx="914400" cy="762000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 smtClean="0"/>
                  <a:t>VCSEL IMAGE</a:t>
                </a:r>
                <a:endParaRPr lang="en-US" sz="1600" dirty="0"/>
              </a:p>
            </p:txBody>
          </p:sp>
          <p:sp>
            <p:nvSpPr>
              <p:cNvPr id="5" name="Right Arrow 4"/>
              <p:cNvSpPr/>
              <p:nvPr/>
            </p:nvSpPr>
            <p:spPr>
              <a:xfrm>
                <a:off x="1834140" y="1736624"/>
                <a:ext cx="304799" cy="7360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ounded Rectangle 5"/>
              <p:cNvSpPr/>
              <p:nvPr/>
            </p:nvSpPr>
            <p:spPr>
              <a:xfrm>
                <a:off x="2304508" y="1357505"/>
                <a:ext cx="914400" cy="760268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 smtClean="0"/>
                  <a:t>DETECT VCSEL TYPE</a:t>
                </a:r>
                <a:endParaRPr lang="en-US" sz="1200" dirty="0"/>
              </a:p>
            </p:txBody>
          </p:sp>
          <p:cxnSp>
            <p:nvCxnSpPr>
              <p:cNvPr id="9" name="Straight Arrow Connector 8"/>
              <p:cNvCxnSpPr>
                <a:stCxn id="6" idx="2"/>
              </p:cNvCxnSpPr>
              <p:nvPr/>
            </p:nvCxnSpPr>
            <p:spPr>
              <a:xfrm>
                <a:off x="2761708" y="2117773"/>
                <a:ext cx="613741" cy="53017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Rounded Rectangle 12"/>
              <p:cNvSpPr/>
              <p:nvPr/>
            </p:nvSpPr>
            <p:spPr>
              <a:xfrm>
                <a:off x="3919220" y="1374369"/>
                <a:ext cx="1039156" cy="773485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 smtClean="0"/>
                  <a:t>CAPTURE COORD</a:t>
                </a:r>
                <a:endParaRPr lang="en-US" sz="1200" dirty="0"/>
              </a:p>
            </p:txBody>
          </p:sp>
          <p:sp>
            <p:nvSpPr>
              <p:cNvPr id="14" name="Rounded Rectangle 13"/>
              <p:cNvSpPr/>
              <p:nvPr/>
            </p:nvSpPr>
            <p:spPr>
              <a:xfrm>
                <a:off x="5621289" y="1323452"/>
                <a:ext cx="1123159" cy="795951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 smtClean="0"/>
                  <a:t>SPLIT CHAR IMAGE</a:t>
                </a:r>
                <a:endParaRPr lang="en-US" sz="1200" dirty="0"/>
              </a:p>
            </p:txBody>
          </p:sp>
          <p:cxnSp>
            <p:nvCxnSpPr>
              <p:cNvPr id="16" name="Straight Arrow Connector 15"/>
              <p:cNvCxnSpPr>
                <a:stCxn id="13" idx="2"/>
              </p:cNvCxnSpPr>
              <p:nvPr/>
            </p:nvCxnSpPr>
            <p:spPr>
              <a:xfrm flipH="1">
                <a:off x="3919220" y="2147854"/>
                <a:ext cx="519578" cy="5000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ight Arrow 18"/>
              <p:cNvSpPr/>
              <p:nvPr/>
            </p:nvSpPr>
            <p:spPr>
              <a:xfrm>
                <a:off x="6915854" y="1721428"/>
                <a:ext cx="304800" cy="75179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91400" y="1303324"/>
                <a:ext cx="814392" cy="798732"/>
              </a:xfrm>
              <a:prstGeom prst="rect">
                <a:avLst/>
              </a:prstGeom>
            </p:spPr>
          </p:pic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71800" y="2671885"/>
                <a:ext cx="1604962" cy="187325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068569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KYEYE VCSEL TYPE AI DETECT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3300" y="665285"/>
            <a:ext cx="2667000" cy="3733800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1002830" y="742949"/>
            <a:ext cx="3893440" cy="3593304"/>
            <a:chOff x="1002830" y="742949"/>
            <a:chExt cx="3893440" cy="3593304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830" y="742949"/>
              <a:ext cx="1942830" cy="175260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45660" y="742949"/>
              <a:ext cx="1950610" cy="1752601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830" y="2495551"/>
              <a:ext cx="1953807" cy="1828800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45660" y="2495550"/>
              <a:ext cx="1950610" cy="1840703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4463" y="1800223"/>
              <a:ext cx="1434169" cy="1690687"/>
            </a:xfrm>
            <a:prstGeom prst="rect">
              <a:avLst/>
            </a:prstGeom>
          </p:spPr>
        </p:pic>
      </p:grpSp>
      <p:sp>
        <p:nvSpPr>
          <p:cNvPr id="16" name="TextBox 15"/>
          <p:cNvSpPr txBox="1"/>
          <p:nvPr/>
        </p:nvSpPr>
        <p:spPr>
          <a:xfrm>
            <a:off x="914400" y="4476750"/>
            <a:ext cx="60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AI </a:t>
            </a:r>
            <a:r>
              <a:rPr lang="en-US" dirty="0"/>
              <a:t>Demo: </a:t>
            </a:r>
            <a:r>
              <a:rPr lang="en-US" sz="1200" i="1" dirty="0">
                <a:hlinkClick r:id="rId8"/>
              </a:rPr>
              <a:t>http://</a:t>
            </a:r>
            <a:r>
              <a:rPr lang="en-US" sz="1200" i="1" dirty="0" smtClean="0">
                <a:hlinkClick r:id="rId8"/>
              </a:rPr>
              <a:t>wuxinpi.chn.ii-vi.net:9091/Main/VCSELAIDemo</a:t>
            </a:r>
            <a:r>
              <a:rPr lang="en-US" sz="1200" i="1" dirty="0" smtClean="0"/>
              <a:t> </a:t>
            </a: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2263007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KYEYE CHIP ID DETECT &amp; LOC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457199" y="4324350"/>
            <a:ext cx="8229600" cy="473978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150 VCSEL images , 100% detect , 100% lock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999" y="697812"/>
            <a:ext cx="6096000" cy="359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221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07975" y="7937"/>
            <a:ext cx="7997825" cy="4164013"/>
            <a:chOff x="307975" y="7937"/>
            <a:chExt cx="7997825" cy="4164013"/>
          </a:xfrm>
        </p:grpSpPr>
        <p:sp>
          <p:nvSpPr>
            <p:cNvPr id="12" name="AutoShape 4" descr="data:image/png;base64,iVBORw0KGgoAAAANSUhEUgAAAPAAAAA3CAIAAAC92lDJAAAgAElEQVR4AcTBB5hd5Xkv+v/7fmut3Wfv6TMa1VFBEgKBJIQoBiyBkBDGvZ3EvjlJ7MRx3NK4JpCcJI+v064d+8S+NjU+xyXGuFGEyiBEE7JANIH6SDOjGU2ve+/ZZa3vfc/MkjaMLLBxkue5vx/du+uLqDCKKQqDkMIAMAqFASBkHEF9c8PI0Fh5Mpgcz3cc6zl+uPPV548cPdpDAGEaAYpzKN4Wwi8jQHEW4SzFr0H4zSjOIkxTgPCWFG8gTFP8MsI0xRsUb4IABQhvQnEW4S0R/n9DeHMEMIgwTQGFAjTFgAAolIgYJFCHTckGvgpCirMU0+oaqxYum926vKVlXm2qJhWNGr8cROOReNz1PGeKYWFmvBm6u+1WVDhKxKQwCCkMAKNQGABWiKxYYccxPR39L+w5cGD/sRNHe4KyACCAMI0wTfEGxdtCgAKEN0c4S/GrEH4zijcQpilAOAcRVMFMIspMIgqAmUTUMIFhAwUQi5jJkgXQVBUTlYFsCUA8ytVxr2ekmE6ZmGf8QDyPSQElQ0QMtVoOxHOYDYkoTYNrKFCUy9YQGSbPNY4xRKQiYsEgzzFR46iSihpiYwwRAisCZWLDNEVVAThsiEhEiMghEiVDcI0RJQMYZiYiwBAriImYCYAqiDCFKQRSKIGYyKqoKhMbZoeMYQYQWAsg4jqe4xhmmmaEQEQArGrEc13jCAFkhBCPxq3I8d7TP3h2jwKKsxRnzV5QN39pc+PsmuaWmnRdMhLxIlE3kfQ8z/U8l5gcVrwZunfXFzGDUSgMQgoDwCgUBoAVSkQj+Xy569ipro7+I6+efOGZg4W8jxABBBhC0piSlaRhByCAAcI0RoWCCIxphLMMSAEiTCEQCAoCkQEBUAJAABhgMBEAAkAgAEwEAhETkaEKgIlAxDQNABEBYBAAVSUiJnKIAQhgRQE4hgEQyDAc47hsoo5LRA4ZAEJwAFEwQcEKcYxhoZL1s+WiIY66LgBDXBOPJ5xo1PWGcrmo55GyH1iXTdT1WFlIyLBIQEQMAiBQBjlsAPgQFwxAmcAqqkTGYSYiJTGAMomqIQUrEzGpKE0BwEQKRoinEKGCiUQVgMuYYgmecZhIVA2pMQZnMCFERMyMEJFBiIkBMCwTMxNCTATAMcZzXISMcR1jEFJmAJ4bAcDMllBWaWlqKYh9tafzZ88+/eDze0vWIqR4w/xlDbMX1M+aW9c8t86LuOlMMpH0IlEvGvUMKzMxM85Dd7fdigpmNgqFQUhhABiFFQJQKkt+NJfNFvu7h1/c99retldRQQABNVHvHYsWzM5k4q7rGgPRKVYCJmIiURVVh5kVogqAiUSViRBimgZAVQ0zEzEggENTDAAmAmAJTIQQ0zSEmJiZmAgA0zRjXIQcZoSYyLAqmCAW0xxjmMgXGAUTMRMTiwoTO4YdNgCYSZkRMqwAAmsdY5hIVAG4zKUg4ClEpWIpHY9HoxGrmi0UMvG457o5vxxxHc9xC+Wy4zkuWFQchTA7ClEBIMyOIiBMcVhxLibCDIbZIUdEADCzYUbIigBQwwAcBRMRuziXYULIAwMQMgAMMULMjJCIoIKZRYSZERIRhJgZIREBwMyeYwAIDICA4BoHIdcx1rgAAoYarsrUwXU6e09/Z8fObz3y0EB2QjFN8YZkdWTekobmefXNLTVVmUSmtiqdjsXikUjUcx04jkGImTED3bvri5jBKBQGIYUBYBRWSETYjRTGch0n+468fPKlvQc7jw2gggAG3n/pRe9YesGK5ll16apCqaSBtaoKdhRMLCpMzEwARNQopogKE2MGZkaFo2AiVDAzZjBEAJgZb8Ywo4KJMAMzo8IwAWBiAKLCxIYZIWYGoGAR9YgxAxP51gJwjfGtdUgNk2+tawwAK2qYjBMREd9aJop6nhVRPzDMxC5CBKswhhSAqARCniEAooIQE1uGFUHIMAOwIgDUEEIqgWESGIRElJlwHkOMGayKIcYMzAxARAKGI5gpYPwSR/A6ZsYMzIxpBsxCmKIwCInhgDDFOm6yqgqOIxIc6Dz5pe//75889wvFWYo3JGq8JRfPWbCkOVOdrK5LZzKxWDwSjUeiUc91iJlQwcwI0d1ttwJgZoSMQmEQUhhMsSQifjkYGcmPD471dA+98MxrB5/vQAUBBCysrvrCpo2bL7lkXkMjogkUJkWEFWeJYCYFRBESEYQY1opgBqPwVRwFMeM8lvA6hWFmzCAieNscxUxWBOdiWMxgRQwzACsCwCGGqBqyIo5SQIqQVXUEU0QF57IiqBBRZgIgojiPGAJgmFHBzJZwBjMhZIgRYmZLOIOZRQQVVsRRTAmUmBiAqOCtWVHDhN+EwKBCDQNQGIQCAjMHBGtcw1zb3AQ/eLmj46sP3P/dZ55UnKV4Q3Nret7iprqmTDwRbZxVm87EkqlYLB6JRD3XIccxAJgJIWYGQHe33crMmIHVIKQwIsJqgsCWiqXx8cLYYPboayf3tL002DOOCgIYuKSp7m8++N6Nl6xyamuhwNg4rOAMBUTwS6xgiipmEsFMIphBRQAQMwAVIWacwyBkRQAYZlRYEVSICkJWFCErAkBEUEFWERIVhKwIQiKKGQgWb4/CoMIoXicqTAxAVAAwMSos4QxmQoVhDghTmBmAIQLAzAAMM4CAYJhwHiZGSFTw1qwoAMMEwIribTNqEAoIzIQQsWsJrxPDCiOGA0JVMu0ap31k4NsPP/it7VuL1iKkeEOqPtI8p2b2gob6puqauqp0JpZIxuLJaCTqeZ7rOmBmAMwEgJkB0N1tt6KCp6hBSEQUBlMs+eUgn5scGsqePNz92ovHDzzbjgrCtLjhWy684DObb1x38SXwPDs6qr4FICJGcT6jUBH8OlYE/yFKBm/GiiJkRRASEYSsKgBHMEVUEFLxUWFF8WasCkKGGG/BqiDkKN4+ZUaFYUJIDCNkiAEwEwDDDEANG8UUNQTAEZwRMKYoDN6Mo3hdSdUwWVH8Oo7iTSkMAGYKCGcQu5ZwRkBgZp+MGI5Ho65xDg8O/NujW+96bEfRBoppijekm6INLdUNLTW1Nan65uqamkQiFYsnYrF4xPUcw2ocz7ACYCaE6O62WxFiZgAKYxRTRERhAFihoFDOTuS7uwZH+kY6T/Q//8TBYt5HiAAC4oavntfyxVve9Y6LV8J1i9mco5giIkbxS4xiiopgBitimEV8hBQGv5KjFJDiLSgZvBkripAVQUhEAJBVVIgKQlYEAMNaUVRYFYQcxUwB4VdwFG9KRAEwE96CIQ4IZxgmhJgZIUMMQAwZZoSYGYAhwrmUDN4eK4qQYbKiAAyTFcVvgtgJCK9TOMxkCVPEsMIEhGgiHgEfHR76t+2P3vnYjnzgK6Yp3pBqiNQ0VDXOrmmZXVdTX1WVjiWSsWQqFol6rudEPCZ2DCszA2AmAHR3262YgdWgQmEA+AHK+eJQ/8jgwETX8d4Xnj3Ye2IEFQQQkDS8vnXuH2/afNWFF0Xi8SA7AUBEjOJ8RjFFRTCDFQFAsAgpDN6aowQgIMVvyKoiJCIArAgAtoqQVUFIRBCyoqiwKgg5ChHF28NMIorfEDNhBmVGhWFCiJkBGGIxBMAwA2BmAIYIv46SQYjU4lxWFYDCIBQQznAUb5NhEpiAMJMYF0BAYGafjBeLeuDjw/33PLr97t1tBRsopineUNUUaWipbphVU11XVV+bzNSkEsloIhWPRF3Pc41jHMcwEzMbVmYCQHe33YoKYheAUYiIwgAQUT/QUrYwNDLe1zV84lhP55HuE6/2ooIAAmJM61oaP3/TzddfuioScYPJAgARMYrzGcUUFcEMVoRgMYPC4M04SggFpPgNWVUAIoKQFXEUIgrAqiAkIghZUQBWBSFHIaKosCIADLMVQcgwWxEAhhmAFTHMeAtWBBWGGW+GmTCDMiNkmBBiZgCGmJkCguFpAAwRQo4SKgJSAErGCKZYxhQjmMkyrCjOZZisKH5DhklgAsLrFI4aAiCGfTLxSNR1nPahoXu3bf324zvzga84S3FWqjGSqU00za5tml1XU5dMV8UTyVisKuZFPc9zXM91iRzHADCszAyA7m67FSGFQcgopigMACtULgeF8fzp3qGR/vHOE32v7Ts22D2OEGEaAUnmdy5o+cMbN1+zYmUsGgsKOQBkBTMYxUwqggpSQBSwqLCkABQGMzhKeAsBqaOEX8eKABAVAFYEgIgiZFUAiAgAK+ooplgVhEQUFVYE5xIVJsZ/EcOMczETKpQZgGFCiJkNMQBmMswAmBiAYcZ/lBXBDD4bVDgKUotQwFAYzOAozggIhklgAsJMYlwAAcEaNx6JMnP7QN+9O3bctbtt0gaKsxQhQqoh0tCSaWiuqWlI19RVpTOxeDIWT0QjUc/1HNdzXGLHMczEzAAIlu5uuxWAwmAGo1AYAFaoWCyXsoXB4bG+zqGu9t72Q6dOHR1EiDCNgBjT5c31n9ty86aVq92YFxQKjsKKIGQU51MRVJACophmUREQ4zyOEv4TrAgAUQFgRQCIKACrAkBEABiFiAKwKgBEFBVWBBWigreBiUUFABOjQlQwAxPjzRA7ABgCgJkQMsQB4QzDBICZARhiZjLMTIwKw4xzWRGcyxCjwqqgQlQQYmKcR1QQInbxZtSQwAAICK9TOGooIAhMLB73iE8O9d+1c+edj+/MBb5imqKCkGqM1NSnGpqrm2bXVddXJZORRDIWS0Rj8YjrOcYxjmOYySVmJmYmWLqr7TacxygUBoAfoFQsFcYnewfGhntHuo71Hjlwsr9zDCHCNAKSzNfOa/7DTTe9Y8XFyVjCLxSMQsVHyChCBhVWBADDooKsggmiAAJS/FdwlDCDFQEgKgCsCEIiCsCqABARAFaURBASUYSsCCpEBeeyogAME/5zmBgzKAwAZmIIAGZCSJlxLsPEzK4xrnFExcoUBeA6xnVdADawvg1E1KoAcARWxRKmJBzXMQ4ASzij5PvZYsG31rc26rgN6bSJRGADG1hUlHw/Wywwc00iaRxjA4uQkkFIDQEQmIAwkxg3IEyJxFNRkvah4W9t33737ra8DRTTFBWMVINX35ypb6qua6quqatKZ2KxeDSWiEairus5ruc6jgEQMYaZEKK72m5DiJkBiAgAo1AYAH6AUrGUnZgcH5s8faK3u3Og62jPyYN9CBGmERAjuqy57nM33bzh0lXJWMIvFIxiiooPwChCBoAVQUhURAJDBMBRwrlKkClWBCHD0wAYIoQcJSsiKgVrrYprTIQYABMDMMyYwYqIihVBhW/t+OSkiDakq0TUqkwBQFYBWBWERBSAFUGFqCBkRfE2GCYraphwLiuKkGHCeZgYgMIgxEwAGMJMqIg6biwSGc5mO4eGEpHIopZZJpaE56KQGx0ZPT06GvO81qZmxKJwHOTzA8MjosLEhtmKiIoVjUe86lQVYlEwo+zDBsVyabJUBqCBPTUyXBWLtTY3IxLBlFLJigDwbUBWe8fG8qXiwlnN0WQKftkGFoCSQYiJLENgAAQERxEQpohxAZTJpGJxZj451H/Xzp13Pb4zG/iKaYqzyCDZEGloztQ3Vdc3Vdc0pFOpSCwejSWikajreo7ruczE04iZiYkhdFfbbXgzrEZErVCpWBofKwwPjo72jbYf7TnxWldvxwgUZxBAQILpmjlNn9q4ef3Fl0YTCZksICQijgKwAKwQAFGxogAMk8uOLRdFxXVdTDEOVCbzk1bFD2yuWEylEqlo1KoCMEQIGWYiBvH4+Nj4ZME1JpGIRzyXrTAxAMMM14UKphgHpdL4ZL5sbcn3C+VyVSyW8JxS4DNxxI3GIxEw2cAWCgUAIgrAqgAQUQBWBCFRQYUVxX8dw4Q3Q+SigpkYAoCZEIp7kZ7Rkf7x8VIQ5IrFC+fNXTCrBV60ODbc2Tcwnstli8XLlyxOzpuHfG6gp3c0n8+XSqXAB5AtFkcmcslopLWufm5jfbKqCpEIpuQnTw0OHOvrH8lPiOjA+Hh1PH7xvLnL5y0wiTgKRStiPBfiH2g/+cShw2R41bwFVyxdCte1pRIqlAwTWcYUgQkIjiIgTBHjAggIiVjKYWkfGr57+45v796ZswEABRRnkYNUfbS+OVPXmG5orqmur6rKJONxNxqLRKJuJOoZxzATTyNmJiYAdFfbbQCYGTMEQo5iih+gVCxNTBQnxnKnT/QO9o+dOn760P5OKM4ggIAY0erG6s9vvnnjpavjyZRMFlDB1gegIoGSFe0aGhrNjc+uqfGIx/L5ZCSajEVFJJ3OwHPBDBHNjrf39x8fGFhQX9+cSQeEssVoPl8XT6Si0Wgmg4gDX5DNDWYnekeGlAwAl01tKukRl3w/HYvHZrdgSqmIUml0ZDRXLOaKRZUAQCkIADAxgNaG+lQyDaA0xfcBWBUAIgrAiiAkKqiwojiXqABgYvznGCZUCAwAQ4wKZgJgmBGqSSQnJrP720/sOnJ4eDJ/88UrN61ew4lEcXj02cMHd7x2YLxQ/O11V1y58iLEYsPdPTtfOTCcz+VKpdHJybjn5Uqlku+3VKVqkokVs+euu+QSeG4wMrLtlVd6Rocni6WTwyNPd3UFIn9wxeUfv/a6VDoDv2wDa5jhl9peefX+/c8PFwpXtLZ+7JprGmfPRjaXLRb8wEZdNxqJAbCMKQKDUECY4pMxzAEhEUs5LO1Dw/fs2Pnt3TuzgQ9AAcVZ5CDdGKufVV3TmG5srK5tTCdT0Vg8Ek9EI1HP9RzjGMcxAJiJmQEQE93VdhtCzAxARAAIjKOwQiJaKpYmJoqjQ+MTwxOHD3T0tPeeah8ISoIQAQQkiK5oqf/jG7esX3lJPJFAyRcRAKyACGBVJFA61T94tLe36JdV7ESxMJGfBJCKRmOed+0FFzTNmwfXwWR2YGCw7ZVXD/X2JiOReMTzAztRLNankqK6pnXBFUuWwDFw3Ynh4W0vvvJyT7dDXB2LTZbLfRNZwzQ7k2mqqtp8ycqaOfMBQck/1n50f2dX9+ho5+ioZ4xY+8Lp0w2J+Ox0et381netvjQeT0FkYnLSqgAQUQBWBCFRQYUVdRRTrArOYwm/FhOLCiqYGCFH8bqAQOygwhCjgpkAGOZUNNo1PPzjfXv/1/7ns37wriVLPn/TlkVz5x1ub7/zsbaHjx4pq/z5O6752NVXV9VUv3TkyH1PPb2/p8dlngyCktjAymTgR5gXpDPvX3nxh6+8MpnOTIyO/t3Pf3ZyZCTmuq/09w2VSgxc3tJyxy23rJw7D0wQtSIDw4Pffeqpu/a/IKqrmpq+9KEPLZ43HzbIjU/0jY0BWNTSAi9aLJcMk8AgFBCm+GQMc0BIxFIE2zEycue27Xc90ZazAQAFFGexh6r6WP2s6prGdENDpq4pk0on4nE3noi6nut6jus5zAyAmZgZADHRXW23MTNmEBgAImLUBIEtFUu5XHl8NNt/erC/a/h0V/+re9slUIQIICBKuLQu87nNN9+05rJ4IoGSLyIAWAHxVYQ8r1go7zt08LFDhway2Um/3DEyOlYorKivLwT+SGHyo6tWvX/16rrGBjimu7Pr621t9792sDken1OVOjUxoaLpWGy8WFo9e9afbd64YH4rPK/72PH/8eBDO0+cBOAyq0qV6wGY8H2X+W9u2PjuNauitdWYyD3w/PO7Dx8tBUH3xHhfPl8OrKh4zFnfX5BO//0tt1y6cJHjeqPZCQAiCsCKABAVhKwoQo5iilXBm7GE/xgmdhSvCwhTiB3MYIgBMBOAqOvGI5GOwcFvPbbzJ4deC0QTrvvV933gxjVrXjl58o4HfnRgoF8UmxYt+tzGG5YtWnL02LF/2Lbt1NjYvExGmFKRSLFc3n/69OqGxuOjIxHP++ubblq7fNnB9pOff+D+0VLp0sZGFX11aDDn+59ad/knNm504wn4ZViFa4oT41979NG797+gqvPS6S+/9z0Xty6MxmKjI6Mvth8v2GD1goVNs2bZwPrWEjsIBYQpPhnDHBASsZTDcnJ49J4dO+7c3TbmlwAooDiLI5Rpitc3V9c0pBsaM7UN6WRVPBaPJhKuF/UcxxjHOI4BwEzMDICY6K622wAwMyoERkQchcIEgS2X/exEcWxkYrBvpPNoT2/XQF/n0NhAHiECCIgTrWuq+czmmzZcsiaeSKDkiwgrpokAFo5zouv0vz315C9OniAiw1zw/b5cNrDSmk6fGB93DH/tve+5YeVKxKKP/WLfHz3w43wQOEQeExSiujBd1ZXL+Yq/u/H6D12+ziRTvT09n/re918YGCAg7bqL0ulDIyOG+LLmxr29fcvr6r720Q/PbmrOjo9/dfuOHx044BnTmEheNneOiLQdOzY3kZyXTu3q6v6t1as+ePllLTX1Y5OTIgrAigAQFYSsKABHcYZVwblElJlQYQnnM4q3yRADCAgKBsDMqDDECMUjXjwSOdbX950nHt965EjeBlFj/mrzlnevXft8e/tdbW2HBvpHyqX3L132yRuub6ip3/XiC9/ft68/l835wR9eeeWiWS0n+3u/9uSTKcdJuG4qGvmzjTeuXbLkiddeu+ORh5vjieFCoWTt765a1drYMKu+dvG8+XA92AAKRCMTfQNffeShH75yQFUz0cg/vOe9a5YuHcnndr700v/et68+mfq9q69+50Ur3Gi86PsKw0wAAsIUnwwANZyMxQGcGBq+e8eOO59oy9sAgAKKs9hDVX2scU5tbWO6viFT31SdSMViiWgi4bme4zjG9RxmBsBMzIwQ3bPrdpxLYACIiFETBLZc9vO50sR4fnhgpLu9v6ez7+iLHYWsjxABBEQIK2vTX9i8edPqy1OpFEq+iLBimggcApsj7R33PfHEC91dPRPZFfX1y5ubgyDY03HSZY46zuDk5B9ddeUtq1el6uvsxMQP9v7i0YOHMlFvTjo9ms8/cPAwgMWZ9KGxsVsuWHz7LTc3zp4LkYef2fP4oSOBtbMzmYaqVKlUuue55xem0+PFUtRzv3D9hnVLlxQmi/+0deuPXn3t8qYmz/OuW74s5Xpf3rlzojC5sqb2wMjIurlzb7/lXbNq6rLFoohaEQCigpAVRYWjsCo4l4jiXGoIgBXFDI7ifMyEt6DMCkaImVFhiAEkY1FDPJSd+PuHH3z8RDsBmUjkd6+86reuve6ljo5v79gxlssdGh1Z1dT0mRs3r1u+fPeLL35lx/ahyTwR3bz8wvdevi6by//j9q2Bb8dLBWOcO27cdM1FKw51dHz+Jw8YkC8yJ131mWuvndNQbwmNzbMxxTFwPThO0Hv6rp3b7/nFcx5j1A/+8vr1G1etGspO7njpxW/u3avAuy9Y+vktN1VnajzHCAxCAWGKTwaAGk7G4oapa3T87ra2ex7fOVicBKCA4iwTpZpZybqmTE1jur4+U9eYSaRi8YQXT0Rdz3Ec43oOMwNgJgDMDIDu2XU7ziUwAETEqAkCWy77+VxpYjw/cHposGeku6Ov43D3SG8OIQIIiBGtaaj+7KbN11+6JpVKoeSLCCvOYgV7x0+c+Mq2R0fzk6pyZHjoty659MrWhV/b/fgLvb0r6+sLvr/5wmUfWXd53YIFiLgTHR0HTnVHHCfpesr04P79u48et6qdExO/s2rlb195xZzZc5DJYGxsdGx8YGKiJpWuj0YeO3jwvqf3pD3vud7emGO+8eEPr5g/bySb/dbOtn9/5RVf5Oq5c29/37trk6nb7//Ri52dlzXUPd7T+97lyz985VUtdbUCniyVHYVVQUhEA4KjmGJVcC4RxX8aM+EtCDuYgZkRMsTJWDTqut0jI1959JGXenpa0+n9A/3vu/iSP920+cCpU1/dvt1VeWVocMP8+b977XUrly7b9uwv7nxq92ihMGmD/7Fp8+a163y//Jf//oPnu7sLfnl+Ov3Z9RuuWLr0WE/PF378QJXrHRwZbkkmP3XVlZfNn9/Y0AQROA5cg1gMZX+gr+/r27Y9eOjgomTiZC73oZUrN1y04oXu7n3tJ57u6hLV9y5b/plNm6oz1fFIJFBCKCBM8ckAUMPJWBxAx8jIt7Zvv/uJtnwQAFBAcRZ7VN2caGipztRVNTZV1zdXJ1PxWCKSSHiu5ziOMY5hZgDMxMwI0T27bscMAoMKsiQixWJ5ctLPjudGBsdOtfcN9Y0cffnkSG8OIQII8ICLa1Jf2HzTjasvz6SrUPJFhBVnsYK9Ex0dX9u27chAvypGi8UvXHPdR6+95sFn93x337605w5M5i9qav79a66ef+FysAvPxfDQZH4ynoijoaH9uX3/909+2jU+ni2V3rlgwWevv+6CJUuRTEAE1iKfB7kgHR8c/LsHH+6bmPCDYNL3P3XV1Vctv8C39iuPbH34yJEaz1tQV3vH+9/XOnvevz++64fPPlssFvuLxY2LF39y/Yam2moiJ1sskghCIhoQzhAVJiYRzCCieDMB4Zc4il+LmXAuYQfnYmaEUtEoM0+WSv/0yEOPHDlySX39WLmcSSQ/fd07B7MTDzz/fAR4ub9vZVPzf7/6mqsuWvHY8/vvfPKJoXwuFwRfuG79RzasR9n/6/vvf7L9eCC2KhK9dePGa5YvfbXz1O0PPzQrlWypqnqqq/P6RYsWNNQPZrP1qVR1PN6cTi9buhyxGHLZe7c++q29z66qr99x6pQSblq8eLxUmp/JFIvFbe0nrp437zM33DB/ztxEJFKyGhAcRUCY4pMxzAEhGYu7jukaHb9v12P37X6sOzuumKY4iwxq5iTrm6trm9K1DZnGpupkKh5PuPFE1PUcxzHGMcwMgJmYGSG6Z9ftmEFgUEGWRKRcDnK5UnY8N3B6aKh37NTJ3uOvdI4N5BEigIAo0ar69Oc2bd64am0qlULJxxTFNBEwg82R9vZ/2batUCpZ1dcG+n9n7eXXL7/wwRf2H+vv94Pyi/0Dv79m9SevuzY2b/h0m2cAACAASURBVC6mlMvFwcHu8bHhfH5WJvNiZ+fjBw9Zaw/09W9YtODT12+obmmBL5AAgT3e23t8YKAmGiv4/s9eeNGoto+MRBznizdev3Lh4vFc7s5t23968OCE769ubv7K73ysdsHCrTt3/suj22y5NOb7my+44HevWz+rrsYldySfQ0hEUVGGGMUvEVG8tYAwk6N4O5gJM/hkABgizMDMAOJeJBWLDk1k73ty91Ptx1uqqtpHRlqqqy9snvVKT0++WFzXMnvbsaNXz5v3W1e9Y9nC1p1799351BMD+VxJ7Bevv+Hd6zcgCP7p/ge2HT6Y80vNyeStG2+8YunSVzs673jk4dlVVe+7aOWB/t5TY2OT5eLTXacEWheNXr9o0Sffub5+7pyB7p5/2b5t65HDH1q2PFcuHRkdSUdjAlw5b14+n7//1deumDvnd65955IFC6KuW7IaEBxFQJgixgUQEBKxFMF2jY59c9ujdz/xWD7wFdMUZzlRrpmdqmtMp6oTTbPrGhozyVQ8mfTiyZjrOcxkHMPMAJiJmRGie3bdDoCZEBJRgUGILIlIuRzkcqV8dnJ0aPzU8d7hwbGuI91dRwcRIoAAB7gwk/yzm27aeNm62qoq+AFEoXgDm47Ozm/s3NkxPLR27vxnOztGCpMfXbW6vX8gW5hcXt/wTOfJlqqqv9h4Q+OihfB9FAs7Dxw4PTaWK5Wijgug7fDhXNknlVtWXPixK6+KNDehVJocHe0aHn6+o8MPbLZQyJVK7YND1bFYtlA0zJ9953VLWxcUi4WvPfTQwwcPj/vllY0Nf/W+9y1etqzzZPuX7n/gpdO9vuqGhQv/YOMNLTU1DpzxwiQAEUVFGYIKo5hJRPFmAsL5HMWvxUyYwRKIHJyLmQG4xmTi8Xyp/K87t//owCsXNzYaolzZv2zuvJjrnhwcTDju0aGBaxYufPfqy+a0tOz8xb77nn5yKJ+fCPw/WX/9h9avB5kvf/97T7YfzZXLVZHIbTfceNWK5UdOdf/do1sbk8n/tnbtE+3H8+VydjL/o0OHFlZV9eTzccf55gc+cPnFF4P40Wef/bOHHpyTSl3X2toxNhZznWypVBuNXjVv3nf2P5+JJ/9k06aF8+ZHXTcvCsBRqGEAPhkAASGVSDsOukfHv7Nr1z2P7+yaGFNMU5xFjExLsqElU9OQrm+ubmyqTqUTibgbT8ZczzGOYSaeRgCYGSG6Z9ftAJgJIYEBIKIAWI0NgnI5yOVK2fFc76mB0YGJrvaeQ/tPTI6XESKAgAjh0rr0FzbftH712upkCn4AUSjewOZER8dXtz3aOzb+kcvWDueyI5P5ctnvy2ZXNTc7xjzX0XHJrJYPrr2sur56dHhk1+HDP3n5Fc+YfadPA1heV9taV5dwzGv9/R9ddel7rrgSyWRf+4kHXnihc3h4f+/pKi/KTNlSOe4662bPyZf9TCz6x9ddF22ol4mJf3l4609fPTDml9e1tPzzb/9WesGCF55//msPPXygv19Ub1q8+OPXb5hfV+eSO5TNYgarAsASjOKXiCjeWkCYyVG8HcyEGSxBYAAYIszAzIa4JpnIl8pbX36p7dBBAN3jo43xxH9bvWbX0WMAGlNV44XClhUXLZs7J93Q+NieZ765+/GBfM5X+fP1G95/3Tsh8uUHfrzzyKF8udyQSNy6cePVy5Yd6ur6m61bk573kdVr2keG0rF4IPbeX+xtjscLgX8qm/2X9773qktXwzFdHSe+vPXR6lh8zYJ5PWNjo/nJvR0d3ePjm+bPOz46dmFz88fXr58/q8U1ThGEGXwyAYGZU7EYgBNj49/euvXO3W35wFdMU5xFBg2tmdrGqur6qrrG6obGTCqdSCYjsXgkEnWJ2XEMAGYCwMwI0X2778AMAoOQiLIaGwTlcjA5Wc6O58dGJk4d7x3qH+3t7G9/5TQqGHCAZen4X2y5ecPqtQ2ZDPwAomCCAKqYwqanp+fr27bt6+r8+NrL65LJvvGJfLm0p739ouamy+fMvf/FF2Ku89kN6xe3th46duxbTz39ct/pBZlMfSKhYDCJamDt7HT6I2vWzJk/H4nE0PHj32hrO9Dbd3JiojYWXVrfYAwDiBt3rFh4R2vrR668EukqTEx87aGHHzhwYKJcWl5f/7cfeP/iZcv6TnX9vz/+yeMnOqzKOxcs+NSNN7bU1UbYG8pmca4yBDMYxUwiinMFBMNkRQ2TFUXIMFlRhAwTALIKICAYJrIKgJlwLksQGEOEczEzgPpUynW90yPDe48f7x4e3t/Z8dzpnk0LFhQDW1TZtGxFS03Ngprahupqp672uWd/8fXdbSdGxyaD4I+vuvqjV1/teu7f//zBPSfac6ViVSR62w0br1q+4ljvqb/d+ohv5aLGpvaxkWsWL66PJ7721JNJxxigJ5f7wyuu+OCVV8VqqsH8wisHOob6WxuaRouFKJsnDx/63v4X1jXU7ekfuGLOnC9suXnerJZEJFIEYQafjBgGEE+mXZLesYn7du26d3dbx9iIYpriLHYp3Rivb8nUNmbqm6sbZ2UyVYlYIhpPRj3PMY7haQSAmVFB9+2+A+cSGAAiympUpFz2JyaK2fFc76mB4d6xk0dPHdx3IigLKgiIEC6trfqTm7asX722OpmCH+AMAVQxhc2Jjo5vP/bY/lOnLm5u9lx3eXMzgK/s3rW2edamJUt3HDmcisU+c9075zbUff+Zp7/7wouTgb+kpqYxXdVaWze7rmYoV7igqakuGWvOZNxMNeLxl5/Zc/sjj4hqx8TEkurqLcuXL2luHpksxFxvRVNzS2Mj6urgl8uDg998dOv9Bw7kg/IFNbX/+OEPzb/wwqf27vnK1m2dw8Oqev3C1k/esHFOfZ1L7lA2ixmsCgBLMIq3IqIIMZOIMpMlTLGiAAwTQlbUUaghhMgqQsyEt2AJAgPAEOFczJyKRl3jRCORwfGx06Oj39vz9IOHDs6JJwrWrps3/6PrrpxTU9OQTqMqDZEn9zz7td2PDeRzvurHLl31+xtusCp/+/OfdQ2P9GXHE573lzdsXLts+bHuU3/9yMOZaLRs7Uix+KfXb1ja3PyP27b1jo8x8FJ//6fXrfvkxo1UXYNCYWJ0NOK6aijqegC+t/vxf3zsMVYNVDcsXvTJ6zcunjvXNU4RhIqAQOwGhCmReIoRdI2Of3Pr1nufeCznlxVnKUKEhoXp+uZMdX1VfVO6oSFTlU4kUrFoPBKJeszE0wgAMyNkWOmuJ+5wFDMJDEIiSpbKZT+XK2XH8xNj2c6jp/u6Bwd7hjsO91lfABCmucDSqtifb9lyw5p1DZkMrEAEZwigCmNOdZ361mOP7T1xwnOmmA+uXrNuQevXd+58sqP9PUuWHh0erE8k/uDaa1YsXvSDx3d/Y88zdbF4IfCXNzZ+4h3vmN1QN5rPM/GcefORTCAIABx+7rlP/OD+6og3Wio1JpNffs97Fre2whewwPWQSoFdlMuYGPnWQw//6KWXA5VkJPoPH3j/iosuHhkY+Oef/mT3seMFG6ybPfuzN944p7HJA4/m8zhXGYIZjOKtWMIvIVjMoDB4C0ZxPksQGEOE8zCzIXYdU5NIFn2/6Ps/3PPUfXv3Zjyvb3Ly8jlzv3jzLfNbZoEdTIlGDr9y4P95dGvP+FjMdWDMn2y44dJ5876ybVv74OBEsQDm2zZuWnfBkqPdPX/54E/zvp/0vO5c9oMrLlq7sPW5jo5TwyO92fFXBgY+vurST1+/IVXbAMAv5P3A+jZg5lQy+cjeZ//njsd68xNl0aZU1Tc+/vHW2XPIMUoGFcosZAJCQKhKpF0Hp0bH/teux7/zeNuJ0WHFNEUFIdUQbZ5f29hSXVNf1TK7riqTiCei0XjE9VzHMQCYiZkBECwAZqb7dt+BcwkMQiJKlsplP5crjY9m+7oHezsHT504ffC5E7asqCAgQlhVk/rClpvXr15bnczA+hDBGQKowpi+ntNfefiRtvZjotqYSH56/fobLrrou08+deeepy+orinZYE6m+r9ffdVF8+bf8/jj33l+X2smQ0TVifgfXLf+gguWQARnJJIIAhDvefrpz//kxzHHGSpMzk6l/mrzpqvWrkMsjt4+qKKhHp6H4iSGR76xffvdzz93QTrTkc9+/LLLrlu29OTQ0FOHD+/r6BosTN6waNEnrr12TmOTBx7N53GuMgQVRvErWMJ/mFGczxKmEDk4DzMDMMQR101EPGb+4d69X2nbUQ58Bn3wopWf2HB9w+zZUIAZwM4nn/z8gz+9IFPdmEhu6zq5qrF5y4oVL506VSiVTo6OJj3vths3rVm06Gh3z5e2P5IrlVvS6f5c1jOmKZ0eyOVmp9MdoyMv9fV98rI1v3fd+qpMGiJQxRlMiES2PfPsD555en9fLxNdM3/+n7773Q219Y7nErsAREWZAZTZAAgIVYk0gM7hwW9u3XrvE4/l/LLiLEWIUL+gqr450zi7urquqqmpuiqTiCei0XgkEvV4GjEzQoYVIbrn6b9GyChmspYAqI9y2c/nChPjhex4vv1wZ2/HwED3cNeRAYQI0xzggmT0z7dsuXHtFQ3VNbABrOB1voXrDgyOfOXBn/3s1QO+an0s9rkNN3z0yquffu2Vf96+/ejwkMO8bs6cT1x7zWXLlm/bt+9L27fVxmLd2axh+tjaNavnzYs47tHTvbXJxA0XXYRUEiYyePLkH33/exOl0pyqdPvY6KYLlqyYNctlDnw7kM1eOKflsuUXIRZBbvKuHTu+tffZ1nTVkbHRG1oXXjRn7kAud+h0T9/4+Kls9rr5Cz69/ro5jU1kNVcsoiIgnE9U8CsxMQBRYWKGtSoIGWKrAkBh8NaM4nXKDEDBOJdRMkwBYYohrkkm3Fjs8Zdf/udtjx4fGRboTUsu+PMt75rdPAtBAFFEIt0dHZ/70Q9PTYyvX7Dw50cP5W1wWeOs2njcY54oFudmqj96+boLWlqGx8fveOinz3Z337hwkWH6+ZEjJbHXzp133eLFz3d2vtzX+/uXr91yycq66mqQwetiERhz7Hj7/3x0247jx0TxgQuX/dHmm6ozNZYQjcQBiIoyAyizARAQqlPV7OD0yNh3Ht/1b4+3tQ8PKc5SnBVNO3OWNLTMr0vXJOfMrU/XpKKxSCwecT2HpxEzAzCsqKB7nv5roziftYQplv2yn53IT4wX+k8P9nT0dx49/eredgheR4BHWFVT9YUtt2xYvbo6mYEIrI/X+RauOzw8dl/bju/tf368VFzVNOtPNm+5cu3a5/Y/940dO17r74u57gdXrtxy6SWtLbN+vOfZe/fuXVpXb4h2nzyR9LyIcQB0TYwXbHDbNdd86IqrqhobHty1+6+2bV1eV7+otmZvd08xCOrjsROjoxO+b1XmV6W/87H/a15rKwqFrz7082/s23dT64KRYvGZntMgWlydubChYSSXG54sXNPa+t7Vq2bXN5ZK5ZLv41wBYSZHcYZVAWAJU5gY52JY/EoCg7dAIgCUGSEFYwajBMAwIaTMdVUp47r7jx3717Yde7pPucS/t+ayT268MRGNIQhgHDAN9g/e+dQTPz14YHltvee6ViXpRY4PD7uGVzbNWlhfv3nFRY2zmseGB7++c+fTnR1XzJlbnUwcHxwcyOeqItFYxOufmEh4kQ+vWXP9igsd17MqhhlnuAaxWG/nqe8/s+e7+593mf/wqqvfddnqVCqthoyJWIJRWMKUMhsAajgRSxnmjuHBf3344fueeCzrlxVnKc5qWFBV15JpmV9XXVfV2FidqU5G45FYPOJ6LjMxM0KGFRV079O3KwwAo5hJYcQKWy2VJZ+bzI7nJ8YLHce7u472dB3tHTg1jhBhmgEWJaJ/8a4tN112RUNtPayPIIDiLFGwKU0Wf7Jnz5e2bc37/tyq9F9sumnLtdcePXL0vl1tDx8+CGDzkqWf2rBhwfwFDz395F889PNLmpoW19UP5LKTvn98aNi3tr+QnwzsltbWO971rkX1jSPZ7Ob/7xv9k5MbWxdmyyXfyuGhoULge8zjvk+Eb9zynvesWoV44uXDh//gh//eGI8tb2zqz+UKvt8/mVfR5mQy5joXNzdvXnnp3NqabLFYVsV/HYbFryMw+HUUjAqjBMAwIRQQ6lMp1zjdI8M7Dxz47r5fLK6p+ei6y69cutx1vcl8Puq6HImgWN577OiOQwf7shNzMtWi2p/L1qdSSddLx2JNVVXXXrA00dgIv/zsSy98Z98vop63sK7OM8Zh05/PpaKRoVxeVbdc/H9qg/dgT++6sOPvz+f7PM/veu633XP2vknIJiGRQAhoNBCNFwjgpSj+0xm1VsextrW2alXS0c5Yp51pS621RUUhQwtGHAUBRQhgNhHIbUOyuW72vnvO7tlz/d2f5/v59Hd+yUnOstkk0Pp6XX/Dvj1BVUWDKs9LA2mK6sOPPf6phx4JqgfmZm9/ww1puQqIplF4UU9DUC2EkVpNkmR+Ze1PvvCFD93zuWcXzzsvcF6Q1cPuAzNzeybHpob37ttWH65V6+VSOUuSoCqqKiqKsYXcdfD9RmALMwOcAGhh3Z41G+3lC6vzZ5bOHls4dXT+8a8d7bUKBoQNmfCG8eFffOe7v/emm4arw5gRnQ0Fz9MEwj0PfOUPvnjPaqtz8949P/ymm659wxtXTp/4s787+HsHv1xLs1+5/fbbrr+uPLPtmcOP/94XvvDUwrmZ4aHZoWGg2e11i94T586L8NNvfeutV18zt22GXv6Bz376y0eemx0bm6kPJSLdohARYnF8eWX32OjP3vbdU1PTJElcW/v4V+8/vrTU7PUS1aC62GpVk7SUhB2jY1dOT1+xbXs5SaObmbNFIXwLggoQzZXIqzECr42jQHABggoDhVDNSqPV6kqr9dCRI18/fWKqXr9x9+6dM9tr5crq2howUq0iemph4aHjx8vlLNFQWMySZL3TMfP909MjlcpYrV4fHqJabs7P3/PkE8BIpZKGoCK5e7coGp2Oqrxp796J0REGVDSoAh5EkoQQvNs9dPx4tyh2Ts7Mjo2t9brVUqkQnMBAoYimhdBXqVZCUj5+4fzvfvKTf/LFz6/1us4LnBdsv2psanZ01xUz09MjE1OjQyPVcrVUKmdJElQVEBXF2ELuOvh+BozAFk4wMy0sL2g2WitL6+trzeNHzp569uxTjxxdmm8yIGxQ2Fst/ca77vi+N791enwKyykKnJdEp1Qt1tfvPvjllVZ7qFJ9yxVX7d+1Gzh14uinH37Y3F8/t+P6vXuGpqZYb3zusa8/vTBfzbKgmmgQ8zRwanm5F+Pbrrrqzfv2Ua6QJMePHXvw+LFOnqvo1FDd3But9tnVVWDv5OSb9u8br9WBMD7WXDj39VMnl5vNblGYe6IBUJXxam28Xhur1lQlCtGcb0lQ4eUIxmWYGaCq1kcAgko059UkTp+q5BKAIDper0Xz9U670+5E94lauVobMrPV9WZQqWYlII+xk+dBBWj1emxS0TSEcprWK2XEO532eqfTzYtSmmiSdPI8jzHJEjOPbpNDQ+U0ZUBFPQgQVCVJCMG73YXV1XZuPbcrZ2fNDMglsKlQRNNCKITRobEky84uLX7kC1/40Of/5pnz55wNzkvqk6X918/t2j8zNTU8MzdZH6pUqqU0S1VFVUUFUAwIzvPkroPvZ8AIbOEEM0ucXk6z0VpdWjt94tzpE+dPPnP68a8dzduRAWFDItwwNvRL77rj+9/0luGhUaJhOdF4kTmlEt3ekZMn8xjH6rWRaq08Oooq7e78qeMXGo1rd+xkfJSioNs9v7y80mxWsmy52ex0ukF0uFLeNjo6v7KShGSkWhmr1RFtd9p5jIuNdRVNQ/Aiqko5SVu9XqPbmRsbG6rVO502oKLm1ui18xi7EXMDVFSipUlIQwB67nzzggpbCMa3xFEGojmvQVBhUwhZUC2KnrkBKlpO006eOyE4fUGFAVUNokB062MLVQWUqKLmVghpCICZexBAVYOoqgRVwIICQQQIqkAhRDeRFAiqQCE4gYFCUdFcg6oWQqVUK2fZkaVz/+0v/vIjX/zCWrfjbHBesvv66V1Xbtu5d2pqcmR4tFYbrpbKWZKEJAmAqCTO8wRjQO46+H4GjMDFnKDRijy2O8XaSmPlwtrRZ88efeL4s18/sTTfZEDYoLCnUvq199zxjpveOj0xheVEw4znOS8ICW5081gU5paGhL4kw8y6HY0FQUkCZnmer7c7QOL0Rbc0hFqp1CtiHot6kkbzTp4DUVAVIHH6orm5AdGcATNjQFXNLLoBUegLzvPMvBD6gko05xJBhcsQjIsFkejON89RXk00ZyCo8IqMAGQoryaosElVGXBVIKgAhZCoB1FAVYJqIagqEESAoFoIfUYAgipQCH2iKdDDVLRQnGBBgaGRsTTN5leW/s+99/7hZ/7q8JnTDDgvSCu68+rpHftnrrhq29jkyOj4UKVaSrMkSYKqAqkImwRjQO46+H4GjMAmVTFzJyROkRfdnq2uNM7PXzh9YvHYEyceue/p5kqXTQIBrhup/Zt3v+v73nTz2Mi4m0k0M1cK+pyLmONsMKPPjGgQMY9mgLkB0fo8ukk0wMyB6MYWZg5EMwYSZ6voxiWisJVEZ6AQXkFQ4TIECyL8/1O4cHnRnIGgwqsJjhO4mIpyiaDCgKoCUVBRIKgUQlAVYhBVFcCDAqoKBBHAgwJGAIIqUAh9QdUIhfC8QnGCBY3C+Oi4Bz29vPyBT3zirns+v9hsAs5LJnbWt+2ZuOraXVe8brZcyar1SrlaSpKQiqgqoCoMCMYm+ej9d7LJCGwRTRPHzLpdazZaayuNxfNrTz9y5PAjzx0/vMAmAYUd5ezX3v3Od337LTPj01huRaHReJHzjcxxMMOMvmhYAUQzcwOi9Xl0k2iAmQPRjQEzZ1M0AxKnL7rxiqIQzbmMoBLN2RRUuAzBggj/YIxgbrycaA4EFV6D4DiBy1BRNgUVQDDRJAoqCgQVk6iqQBBVFcCDAqoKBJFCCaIMiKaAB2UgmommhfA8TzSEzIPGJBuanibvnWu173n4wX/3R3/49PxZwHnJ3NXj+6/bOTs3sW1ubHxyuFqvpFlSCkFVAVVhk2Bsko/efyebjMAWwQNg5r3C283O2kpj8dzyU4eOHn7o2SOPnmWTgMBcOfud9/7wd99089TwOFkWWy1AojOgXkDCVpbjYIYZEM2CgxXRzNyAaH0u0aIbYObRjQEzB4LTZ2ZsEd24hJmzRSG8FkGFl6OiDCiRl6Oq/D8wMwaMwIC5sUU0B4IKEM2DChDNgaDCpmieiQBmLprwclSULRJ1wELCgIoCHiSoAok4YEGCbgCCiEswVSCoAkmSoBLdgbwogmqapSQlRFEQ0JSghZCMT3aa648cPf6f//Rjd993EHBeMrajNrt3cve+bfuu3jE5NVQqZ/VKKSRBVVQVUBUGBGNAVQD56P13soUR2BQ8MGDmzWav3eosX1g7dmT+qYefffrQ8Qtn1xkQEKgH/fm33fJzd7x7dnYOVVtdVVX6nIuY0edsMMOcaJgBbrlEj2aAuUXr8+jWJ9GB6AaYOZskGpuiGy/HzNmiEF5VUInmQYVLqKgS2UJV+QdgZoARGDA3NkXzoAJEcyCoRHNeTuK8yAhAUOFiKsqAEj0oA6IJoKJRUBUgqKqoSVSVoBsAD+IEFU2TRLMUM4gkCS6xiN28t9psta0AzDwXBWJIo9DDpqe3n1tfve/wEx/5679++NhR5yIz+4cPvGHvrv3bJmfGJsaGqtU0zZIkCYBuEECw4DxPVQAzl4/efydbqAdVZVM0YaDTs+Z6+8K55RNHF557/PhzT506fniBTQKVoO+59sCv/siPXLf3Sup1Oh3aHUKCm/Vyz4ugSpJQFKiiSl8IWI4becQsFoVbnrhEM3PLixjdAIlm5kB0M3MGolniPC+6scnMeTWF8FoEFS6momxSoqpysSACqKoHUdGgCiSOENnCzKJ7NHOCmXGx6M6mwoRN5samaM6rSZwXGYEtggoDhdAXRIXIgGjCQFAthCCqKkBQtaBAEFHVoFoIQSUNSZKlqGJG0Fa7fXZpeaXZfG5h4bGTJ5vdbmHkbu4eheguSVoqZREpV8qLzcbhEycfOXoUcF4yOlu98vqdc7um5nZPz85OlMpZKdOQBFVRVSAVAQTjEvKx++5kC9GULYzAQF7Qbrbbrc7Z00snnzn91GNHDz/wXGu1x4CAwGiW/us73vF933bD9uGRPEYgDQEoenmj3TE3iV7EOFqrzYyOpkNDVCu0u/R6qFIU9HLvtaNZdNdo0fo8uvVFczEDzByIZmwhZmwycy6jEF6joMLFVBRQIqCqbAoiDKhqUFWRNAkeNFqfd/I8j9HMUo+qCgRRVQGyENIkERF3j2aFiblH28BAdGfACdGMAXNjIJozkDiFcDmJ8yIjcDEPAigRUFEGnKAqgAcFgiigKh60DwgiqupBg0qlUiEkKH2tZnNpvfH0ufnHjh87fn7x0MmTp1dWV7vdbrTC3dwNHBzM3dzTEMw9NwOcl1THsu17x3dfsW3PlbPTU6PjU6OlchrUkyQAqSigKoLxcuRj993JFqrqBDYZgQEndDrddrMzf3b51NGzp46cOfLEqSOHTrNJ2DBeKt1+4Jo9k1MJcmrpgjoi0i2KTrcTLVZCmmXpaLW6Z3LqipnJ/TPbdk1NVoZHyDLMMKPXptMtiiKPMZpp9OjWF82jm0ZnIJoxYG5sEc0T5xtENyAKW6koryiosIWKMhBUASECQSRNEhUJ2idmnsfYyfP1vNvodBvdbrfXyWMsopkbYO5AOU3LGobK5Xq5NFarpSFkIWSlEmZsCK1eL9oGILoDTohmgLmxKZonzmsR3YKoEbiYEj0Im1SUAdEEiIKqBlFAVTxoXxABPGhf7ft1fAAAENFJREFUvVYlzUiTfH39uXOLX336yafOnHnw+PFDZ892Y8zd2zECzjdyLuK8JKuGqV0je67avv/K2ZnZicnp0VI5C0kI6qkIoKqAEhkIzouCukWXj913JxdTVScwYISgChih6Gv1ltbbC6fPn3nu7LNPnTr8wLMrC002CQgbqiEAuZnT5yDmLpCqllVT1Xqa7h0bvXrbttfv2HHj3j037L0iqVTIMojkBd1ut93Oi0KjR7e+aB7dNDoQzRgwN7aQ6FwiurEpClupqLmpKJcIKoBgbAoigKoCQURVg2oagqoA3bxY73TWWq21Tmet3VnutBYbzdVWY6Xd6XR73VgAKhJEVfrIkmTH6MhopVTNsp1jY1mSjNbqk0NDQSRLU1QhYNbq9fKiiO4MWB/B3NgUzXk5idMX3biESMqAEoFCCCpsUlEnAKoSBVUFgqiqeNC+IOJB0yRUKhXSjDTprK4+OX/24BNPfOrQoUOnz5zvdADnIs7LcF7Gtn0j+67dsX12Yve+mYnp0XqlnGZJog6ICgMlccDM2SQeGUgc+cTB33ACW6iKE3iepgw4wcyKIjabvYWzi6ePL5w5tfj0Y0efeuhY7DlbCBuEVyJsqKrW0+TNc3Pf//rX37h3z4379oVaDVXM6PbajUY08yKaWTSPbn2JSzRjwNzYFM0T53nRjZcThctRUS4WVNikogwk6kFEVdMQ0iSYeSfPl5vN8+vrS83mhUZzqbl2odE8ubZWmDV7PUHKaRJEsiS40+j2cotl1fVu9+z6+lCWTVQqcyND49Xa62e3D5XLQ+XSzumZ6eFhshQC5hTFaqsV3QEzAwoXtpDoXCy68YqCKFsUQlBhQEUBJ6hKFFQVCKKq4kH7gogHHR6qk2aE9Nz5c18/dfIvv/a1jz/04GKn47zAuYiDgPMqdh6Y3H3V9pltY9t3Ts9tG63WK2mWaB+RgVREMMDMGAhFwYCqAmYmd3/51wAJKZtUxQmAqhoB0KBOsGh9nZ4111vzp8+fPH7u9LH55546dezJ071mwcWEVyK8QKCsOpImt+/f/+43vvE7D1w9OTdHX7dHnrebTc9jHotoHt00OhDNAHNjU3DMnIHoxuVF4WWpKKBEBlSVLYIIoKppCGkIaRLMvJPnq+3W2eWlE0tLT80vPLt4YbJWbfZ6lTQdrlbyaKUkAKUkqZayelbKkqTV6wHtXlfMy2ny7MLC544cu2J05ND5xaEkuWXX3IGZmdfNzn77/n3J8DBFJE2JYNbqdPKiiO5mBhQubJLobBHdgmh049UEUTZ5EDapqBNUJQqqCgRRCxJ0g6uMDQ2RppSy5cXlB44e+eyjhz5y/98v97rOBucFzjdnfOfQ7O6J1127a9uOqbHh2tTMSJolqgooMTh9QjRzQKMBHgtzZyBF3B2Qj3/xVwFVdQKgQQFVcYKqGkGDAk5goJd7q9VZW14/M7989tjZ08fPP/PY0RNPzPPNEF4gbFAYSZJtlco/ueWtP/Tmm3ft2kVI6PXodltrjeiWFzG6aXQgmgHmxkA0T5wXRTdeURQupaJsEVTYpKJAUK1lIagCnTxvdDrzq6tPnJ1/+OTJM6sradCZoaHJWm2iVlvpdhbW1tt5t1vE0+vrq53OTLU2Wil3LKpTSdN2nteyZG5oaG50pJwmi6uNwqykfPKJZ06vN1KVt8zN3nHdNW++4oqJiUmSAAHzmPca7U50tz6CuQHBMXO2iG58M4IoAx6EARV1AuBBVBUIohYk6Ia0XKnV6qTh3OLil544/KmHHv7U419fy3MHB+dbMTxdHRqr7tg7Pbd7enbn5NhIfWSsXq2mqgpoNCECZi5EjQ4URcQKiW7mgJkFdQbkw5/9V7pBnKAbRPuCiiaqagQNCjhBVYDCtFsUjfXW8lJj4czi+YWVo4ePPf3o0XPHlvgmCRuEDQIC20qln7z5pp96+607d+5BlV7P2+219UY0j24aPZoB5samaJ44z4tuXIaZAyYRUBUuEUTZpKpsCiKqWs2yNAlmHs3OrqycWb5wz1NPH1ta7hbFjtGR7cPDK61mK8/zGLM0aXQ79x4/tdBqN2NsmwMKxgaBmmolaDXodLlcS5I3zm3bMzk+Xq2MVutfee7oHx163N0n0vRHrzvwrhtv3D87mw0PQyDPKYrVViu6FybmxoBEZ1N04zLMHFAVLhFEC6EvqDCgormGIAKoqgdR0aAqSRgbGTdhvd166NjR/33fwT996KH1ogAcnMsQ+jRRDVp0CoTyULmz1gGqY6XKUKlUyfYdmNs2OzG9fWJ0rDo+OlSploO6mSWOWwGYORBiURTRzTTGoohubm4aI5vMTP7Xn/6cqiZJUJWQZBY0SUKSBAmpqqiqETSoE1QFyCWYeZEX643u0vmV8/MXzp1dOnnkzOnn5leXGktnl2PP+GYICBsEFCaz9GfecvNPv+3W7bM7MMNZX17OixjdNHo0A8wNiOZA4jwvujFg5lyGEKPQpyoMOIFNKspAUGEgEVfVNIRymuYxRrOn5+fvefKpo4uLJ1dWrt0+c+XU1I27dzXazQ/e95UvHT/ZKAqHjlnORQRqiebmQNccCJCJlEVUqAb992//jh+/7VaQQ88897mvH/79hw4F5O07Zt924Orbbrh+enyKNCUWFHG10ehGzA0IjpkzEN14OWbOJVSFLVyVgaACiKSFEkQAVfUggEg6MTYakmS10zp8Zv7Pv/aVP7j3y2t5Djg436hULdVGhgQvYszKmSbSbXWySlaqlPJur290cqg+Wi1Xsmq9PD0zNjZRn9o2MT5cKZUzQIj05VEwNyuKmLi5WVGY5Lm5FYVpNLdo7mYWXBiQ//KhnxQV3SBJVkqSoKWkLyRZSEOaBDTVoE5QFSCXoKpm1ulZc721ttpeXFg6fezM/InzZ08sLC+uzx89Z7lltaxSr5TKWWu9XfRyDSGoRrMkhPpQrbXeWllaY5OwQUBAYEe5/Mvfc9t7b75pfHwKEfK4tLwc3TR6NDM3BqI5A4kT3dhk5rwcIQJR6FMVLhFEGVBVIIiU0rScpkA0M/fj5xf+5vHDH37w4YlqZcfIyA9cc+Cd1x+o1uv3HX7y5+7+84V2JzevJ+G798/Vq2UpJaUsHapU5iZGd0yMjYyMLFxYXl5t9Lq92C3yVve+Z5+77/S5C3mRiVxRr973Cz8Trj3A6tq5Z5+96+BX/vjhxxQvheSX3v6d1+3df2DnbmpVejl5fmG9Fc3MDZDoDEQ3LmHmXJ6qMOCqDAQVwAgeFAgiqloIQaVaGx4aGkL86OL5Lx5+8oOf/9uvnjkFODhbCNV6dXrntiRL3L3I83K9VB6q5d1u3uulWajUyqVy2mq22o3m1Nzk1LbRJAk7dkxOTI+Vylk1VVUxc6yQaGaOFUURyaNbYebWK6zIxdzMLeYS3cwBwdwdkN/6wI+riqqISpqWQhKyLCmVMymVkiRkWUpIkySIphpUVYzEgwCFaa/Xazbz9krj1OmF86cuLF9YPXX07OLCyra5qVaj22t3EPXCHFFwx6OnSVDRhTPn8l6+vtYAzBwQNggIpMK+eu233nXHrQeuHh+dIElptxeWlyU6YG5ANGdAzNjCzLk8IQJR6FMVJ3AxFQWCCpCGZLicRjNzX2o27nniyQeOnfjqyZOT1cqPveGG63bueN32bZWROkVx98G///lPfnq5iJnw8zcd+Jfvvm163yyTw5QrVEuUM0oZqvQKOj3WOhSw3l1+8JH/+ql7/vDRZ3rub5+d/t33/cjkgdchkBfdk6c/+fCjR87Mf+Txp8oh/OB119x+ww0377+SWo2iIM/PrTbMDYjmidMX3djCzHkNVAWIgooyIJoAHhQIIoAFVU2mxseBhWbr7599+qP33fsXjz/m4OBcZHxmolyrVuuVrFoeHRsuVTOCaqpByWNeqaSValYUsbG+PjE9OjEzFtvtUrm0bW6qWk1DElKPZm5mWCHRYxFj0SM3i7mZeW5F3qOIZi5FYWaAxmjubJJ/+x9+SERURVWTNAlJmqZJqZyGSqVUzrIs0SRL0iRJQkhLqmIkHkSDGsGid3ux0+62W+35M0uLp84vLa6dP7uYlEpAkAB0ml0zExP6zBW1aKtLK821VnO9gVm3072wtAYIGwQEKqp37Nvzs7e9/buuvppQWl1daXV7wTE3BqI5A2LGFmbO5QkRiIIRggpbCBEIooCqAmkIQ+XywtrqyZWVUxcWHz5xstntuNu+ick3790NXDkzPbVnF25rp0//6Ac/dP+5peEQ7v6p99z8Q7dRLVNNGB6inJEofVlGUKLSLWgYHePYsbOfv/d7/+fH29F+4abX/8IP3M6OHXS7zM9/7cjxdp53i+JjDzz6d2fmS0lyy66d/+z27zmwdx+9fL3TaedmbgxE88SJblzMzHk1qgJEQUUZEE0ADwoEEcCCOqFSLQPnmu3PHHr4N//qL9fzHHBwXlIbqU9tn6oO1bbv3l6uV82KkKWjY0NZNQU63bZg5XKSpEkQN/eh4fL45FhQS7M0qCeOW2Fmbq6xMLOi1yW3PC+KXlfMrcitF4toGgt3l+ju0c0BdZ4nv3jnO0VFVUQ0JEkIIU2TciVLa9VytVQuZ0lWTtIQkixJEg2Kph6EvpACTlLkRafdLUzaq40jT51cX22MTU00G628nQNFuxdNFC3yIoioh8bK2tLikkeaa+vrq+vn5s8vXlhhQEBAQGA6y37s9df901u/a/fUjJmvtlrBMTcGojkDYsYmM+cS0SyocrFC6AsqXExFgaACJOJpCIuNxofvu//gsWMLzeZ3zM3N1OtfPn68UxRrve7Nc7O//cPvntk5x/rar9/9iT8+9ITAj16387d/4gezN13L1DClhCQjKEFJE/pE0Ywczqzwxa9+8M8+/Z/ufaSi+uH3vvP6a64mZB//0sEPP3jo6eXVkspP33j9RLXSzosPfPXhZozvu+aa26+/7i1XXFWu1xfOn3eUgWieONGNLcyc10ZVAFcFHO0DoqCqgEjiQc1saKi+3Gh85tFH//uX7nl6adHZ4OC8YPvO2fpIfWhsZHRytD42Mj4zNjJWd9Us1VDS0KdOcFERohd5Vsqq1RRIE/rcCo0GuBVurrGIRSx6XesVvV7hvZ6be6+X54VaNPMYTS2aeZ86Gyw6Kv/8139AVAAVCYlqSNM0KVeypFqp1SuVajnJSlkpTZIQkpIGjSHRvqBGUFXRFMjKWRG112gtLzXX19bzgk6rE7smKl4g0Zwg0YvoRafnvXx5cfX8ucWi0807vQvnzl+4sPzcsdOAgICAsGE6y37l7be+4/rrJ4ZGWt1ecMwNiOZsEjM2mTmvSIhAFPpEEwaEyKYgCqgqA+u97iMnTnz8gQcfnl/4tpmpW6/c/+ipU589cqwV43q0uupP3nDtL7/jeyanp7566NH33XX3ch5HUv2P77vtvf/4XUyPMlajVibJ6FOlz0EyCjjTeOB//MlvfvwzT15o3DIz/vvve092xZVHHzv8Lz7xmXsXFhtmwPYkfP+eHf/oxm97+NTp3/3aIyryvfv2/cQtt7xxz57VVqtwYSCaA2LGxcycLaIZEFS5mKoArgo42gdEQVWBIBJDamblavnC+vonHnjwd/72r5uxYMDB2VAfqk/NzgyN1Ce2TY/PjE1um6yODpVLSXm4lmWqqYhq9FyIKpomCNHM0kRUxYqemWN5cATrc3PynpsXvW7RyfNe4b2euUledHu5FIWZe2F4BCS6ubPp/wJfaS3WH2xYKgAAAABJRU5ErkJggg=="/>
            <p:cNvSpPr>
              <a:spLocks noChangeAspect="1" noChangeArrowheads="1"/>
            </p:cNvSpPr>
            <p:nvPr/>
          </p:nvSpPr>
          <p:spPr bwMode="auto">
            <a:xfrm>
              <a:off x="307975" y="7937"/>
              <a:ext cx="304800" cy="304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3683886" y="708372"/>
              <a:ext cx="1033549" cy="1253993"/>
              <a:chOff x="3796145" y="513643"/>
              <a:chExt cx="1033549" cy="1253993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96145" y="955338"/>
                <a:ext cx="1019694" cy="304800"/>
              </a:xfrm>
              <a:prstGeom prst="rect">
                <a:avLst/>
              </a:prstGeom>
            </p:spPr>
          </p:pic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810000" y="513643"/>
                <a:ext cx="1019694" cy="297411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810001" y="1476712"/>
                <a:ext cx="1019693" cy="290924"/>
              </a:xfrm>
              <a:prstGeom prst="rect">
                <a:avLst/>
              </a:prstGeom>
            </p:spPr>
          </p:pic>
        </p:grpSp>
        <p:sp>
          <p:nvSpPr>
            <p:cNvPr id="15" name="Right Arrow 14"/>
            <p:cNvSpPr/>
            <p:nvPr/>
          </p:nvSpPr>
          <p:spPr>
            <a:xfrm>
              <a:off x="1940329" y="3301221"/>
              <a:ext cx="609600" cy="18908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ight Arrow 15"/>
            <p:cNvSpPr/>
            <p:nvPr/>
          </p:nvSpPr>
          <p:spPr>
            <a:xfrm>
              <a:off x="2689279" y="1318023"/>
              <a:ext cx="609600" cy="18908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8505" y="1055501"/>
              <a:ext cx="814392" cy="798732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11" y="2502489"/>
              <a:ext cx="814392" cy="798732"/>
            </a:xfrm>
            <a:prstGeom prst="rect">
              <a:avLst/>
            </a:prstGeom>
          </p:spPr>
        </p:pic>
        <p:sp>
          <p:nvSpPr>
            <p:cNvPr id="19" name="Rounded Rectangle 18"/>
            <p:cNvSpPr/>
            <p:nvPr/>
          </p:nvSpPr>
          <p:spPr>
            <a:xfrm>
              <a:off x="818111" y="3409950"/>
              <a:ext cx="814392" cy="76200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Label Image As 2</a:t>
              </a:r>
              <a:endParaRPr lang="en-US" sz="1600" dirty="0"/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2682393" y="3029816"/>
              <a:ext cx="914400" cy="76026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Training Database</a:t>
              </a:r>
              <a:endParaRPr lang="en-US" sz="1200" dirty="0"/>
            </a:p>
          </p:txBody>
        </p:sp>
        <p:sp>
          <p:nvSpPr>
            <p:cNvPr id="21" name="Right Arrow 20"/>
            <p:cNvSpPr/>
            <p:nvPr/>
          </p:nvSpPr>
          <p:spPr>
            <a:xfrm rot="20216131">
              <a:off x="3822673" y="3045690"/>
              <a:ext cx="609600" cy="18908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ight Arrow 21"/>
            <p:cNvSpPr/>
            <p:nvPr/>
          </p:nvSpPr>
          <p:spPr>
            <a:xfrm rot="1568639">
              <a:off x="3824874" y="3565965"/>
              <a:ext cx="609600" cy="18908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86510" y="2455051"/>
              <a:ext cx="1541995" cy="907805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6510" y="3438042"/>
              <a:ext cx="1507360" cy="687723"/>
            </a:xfrm>
            <a:prstGeom prst="rect">
              <a:avLst/>
            </a:prstGeom>
          </p:spPr>
        </p:pic>
        <p:sp>
          <p:nvSpPr>
            <p:cNvPr id="25" name="Right Arrow 24"/>
            <p:cNvSpPr/>
            <p:nvPr/>
          </p:nvSpPr>
          <p:spPr>
            <a:xfrm>
              <a:off x="6247579" y="2807314"/>
              <a:ext cx="609600" cy="18908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ight Arrow 25"/>
            <p:cNvSpPr/>
            <p:nvPr/>
          </p:nvSpPr>
          <p:spPr>
            <a:xfrm>
              <a:off x="6247579" y="3660505"/>
              <a:ext cx="609600" cy="18908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7110888" y="2502489"/>
              <a:ext cx="1194912" cy="76200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/>
                <a:t>TENSORFLOW</a:t>
              </a:r>
              <a:r>
                <a:rPr lang="en-US" sz="1200" dirty="0" smtClean="0"/>
                <a:t>  AI/CNN MODEL</a:t>
              </a:r>
              <a:endParaRPr lang="en-US" sz="1200" dirty="0"/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7110888" y="3390231"/>
              <a:ext cx="1194911" cy="76200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ML/KNN MODEL</a:t>
              </a:r>
              <a:endParaRPr lang="en-US" sz="1200" dirty="0"/>
            </a:p>
          </p:txBody>
        </p:sp>
        <p:sp>
          <p:nvSpPr>
            <p:cNvPr id="29" name="Right Arrow 28"/>
            <p:cNvSpPr/>
            <p:nvPr/>
          </p:nvSpPr>
          <p:spPr>
            <a:xfrm>
              <a:off x="5087954" y="1318023"/>
              <a:ext cx="609600" cy="18908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874674" y="142177"/>
              <a:ext cx="450559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 smtClean="0"/>
                <a:t>SKYEYE OCR TRAINING PROCESS</a:t>
              </a:r>
              <a:endParaRPr lang="en-US" sz="2400" b="1" dirty="0"/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803239" y="708372"/>
              <a:ext cx="1587970" cy="1447801"/>
              <a:chOff x="1002830" y="742949"/>
              <a:chExt cx="3893440" cy="3593304"/>
            </a:xfrm>
          </p:grpSpPr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02830" y="742949"/>
                <a:ext cx="1942830" cy="1752601"/>
              </a:xfrm>
              <a:prstGeom prst="rect">
                <a:avLst/>
              </a:prstGeom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45660" y="742949"/>
                <a:ext cx="1950610" cy="1752601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02830" y="2495551"/>
                <a:ext cx="1953807" cy="1828800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45660" y="2495550"/>
                <a:ext cx="1950610" cy="1840703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84463" y="1800223"/>
                <a:ext cx="1434169" cy="169068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2874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KYEYE CHARACTER RECOGNIZE ACCURAC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990600" y="742950"/>
            <a:ext cx="3308684" cy="29337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1931" y="742950"/>
            <a:ext cx="3881470" cy="28194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90600" y="3882390"/>
            <a:ext cx="723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500 character images recognize accuracy is 99.6</a:t>
            </a:r>
            <a:r>
              <a:rPr lang="en-US" dirty="0"/>
              <a:t>%. </a:t>
            </a:r>
          </a:p>
        </p:txBody>
      </p:sp>
    </p:spTree>
    <p:extLst>
      <p:ext uri="{BB962C8B-B14F-4D97-AF65-F5344CB8AC3E}">
        <p14:creationId xmlns:p14="http://schemas.microsoft.com/office/powerpoint/2010/main" val="881091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KYEYE WEB SERVIC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869" y="590550"/>
            <a:ext cx="3856531" cy="32004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538" y="664450"/>
            <a:ext cx="4296869" cy="31265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86869" y="3918190"/>
            <a:ext cx="81068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KYEYE offer OCR service by website, so it can be shared to other II-VI site easily by </a:t>
            </a:r>
            <a:r>
              <a:rPr lang="en-US" dirty="0"/>
              <a:t>HTTP protocol. </a:t>
            </a:r>
            <a:r>
              <a:rPr lang="en-US" dirty="0" smtClean="0"/>
              <a:t>Demo offered by </a:t>
            </a:r>
            <a:r>
              <a:rPr lang="en-US" sz="1100" i="1" dirty="0" smtClean="0"/>
              <a:t> </a:t>
            </a:r>
            <a:r>
              <a:rPr lang="en-US" sz="1100" i="1" dirty="0" smtClean="0">
                <a:hlinkClick r:id="rId5"/>
              </a:rPr>
              <a:t>http://wuxinpi.chn.ii-vi.net:9091/OGPXY/OGPXYProfessionReview</a:t>
            </a:r>
            <a:r>
              <a:rPr lang="en-US" sz="1100" i="1" dirty="0" smtClean="0"/>
              <a:t>( input </a:t>
            </a:r>
            <a:r>
              <a:rPr lang="en-US" sz="900" dirty="0"/>
              <a:t>293101-50E </a:t>
            </a:r>
            <a:r>
              <a:rPr lang="en-US" sz="1100" i="1" dirty="0" smtClean="0"/>
              <a:t>)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208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KY EYE ADVANTAGE</a:t>
            </a:r>
            <a:endParaRPr lang="en-US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611532765"/>
              </p:ext>
            </p:extLst>
          </p:nvPr>
        </p:nvGraphicFramePr>
        <p:xfrm>
          <a:off x="1257300" y="512905"/>
          <a:ext cx="6629400" cy="414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800">
                  <a:extLst>
                    <a:ext uri="{9D8B030D-6E8A-4147-A177-3AD203B41FA5}">
                      <a16:colId xmlns:a16="http://schemas.microsoft.com/office/drawing/2014/main" val="2487547294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1305233258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961115082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ompari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ommercial OCR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mtClean="0"/>
                        <a:t>SKY EYE </a:t>
                      </a:r>
                      <a:r>
                        <a:rPr lang="en-US" dirty="0" smtClean="0"/>
                        <a:t>OCR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9255546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OS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$10K+ /</a:t>
                      </a:r>
                      <a:r>
                        <a:rPr lang="en-US" baseline="0" dirty="0" smtClean="0"/>
                        <a:t> LICENSE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$0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5477216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ORRECTIVE RAT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5%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9+%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2683837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ERFORMANC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 images</a:t>
                      </a:r>
                      <a:r>
                        <a:rPr lang="en-US" baseline="0" dirty="0" smtClean="0"/>
                        <a:t> per second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5984145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OJEC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WAT Test</a:t>
                      </a:r>
                      <a:r>
                        <a:rPr lang="en-US" baseline="0" dirty="0" smtClean="0"/>
                        <a:t> / 400G parallel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578939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XTEND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KYEYE</a:t>
                      </a:r>
                      <a:r>
                        <a:rPr lang="en-US" sz="1600" baseline="0" dirty="0" smtClean="0"/>
                        <a:t>’s object detect function can be used to detect VCSEL surface defect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05389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6358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4343400"/>
          </a:xfrm>
        </p:spPr>
        <p:txBody>
          <a:bodyPr>
            <a:normAutofit/>
          </a:bodyPr>
          <a:lstStyle/>
          <a:p>
            <a:r>
              <a:rPr lang="en-US" dirty="0" smtClean="0"/>
              <a:t>PROBE TEST DET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9311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I SOLUTION: CHECK WHETHER CHIP BE TESTED </a:t>
            </a:r>
            <a:r>
              <a:rPr lang="en-US" altLang="zh-CN" dirty="0" smtClean="0"/>
              <a:t>1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794237"/>
            <a:ext cx="3446463" cy="3446463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399" y="819149"/>
            <a:ext cx="3446463" cy="344646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600200" y="3181350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Before Test</a:t>
            </a:r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81600" y="3257550"/>
            <a:ext cx="13541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fter Test</a:t>
            </a:r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411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AI HISTORY</a:t>
            </a:r>
          </a:p>
          <a:p>
            <a:endParaRPr lang="en-US" dirty="0"/>
          </a:p>
          <a:p>
            <a:r>
              <a:rPr lang="en-US" dirty="0" smtClean="0"/>
              <a:t>CONVOLUTION NEURAL NETWORK</a:t>
            </a:r>
          </a:p>
          <a:p>
            <a:endParaRPr lang="en-US" dirty="0"/>
          </a:p>
          <a:p>
            <a:r>
              <a:rPr lang="en-US" dirty="0" smtClean="0"/>
              <a:t>SKYEYE OCR SYSTEM</a:t>
            </a:r>
          </a:p>
          <a:p>
            <a:endParaRPr lang="en-US" dirty="0"/>
          </a:p>
          <a:p>
            <a:r>
              <a:rPr lang="en-US" dirty="0" smtClean="0"/>
              <a:t>PROBE TEST DETECT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31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I SOLUTION: CHECK WHETHER CHIP BE TESTED </a:t>
            </a:r>
            <a:r>
              <a:rPr lang="en-US" altLang="zh-CN" dirty="0" smtClean="0"/>
              <a:t>2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61145"/>
            <a:ext cx="7894873" cy="4106657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61144"/>
            <a:ext cx="7867285" cy="41066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761" y="532015"/>
            <a:ext cx="7908550" cy="4087839"/>
          </a:xfrm>
          <a:prstGeom prst="rect">
            <a:avLst/>
          </a:prstGeom>
        </p:spPr>
      </p:pic>
      <p:pic>
        <p:nvPicPr>
          <p:cNvPr id="40962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1899" y="1428750"/>
            <a:ext cx="3946525" cy="204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6750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071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8" hidden="1">
            <a:extLst>
              <a:ext uri="{FF2B5EF4-FFF2-40B4-BE49-F238E27FC236}">
                <a16:creationId xmlns:a16="http://schemas.microsoft.com/office/drawing/2014/main" id="{D3C85293-2865-4F72-814E-A7F6719701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3" name="think-cell Slide" r:id="rId11" imgW="272" imgH="272" progId="TCLayout.ActiveDocument.1">
                  <p:embed/>
                </p:oleObj>
              </mc:Choice>
              <mc:Fallback>
                <p:oleObj name="think-cell Slide" r:id="rId11" imgW="272" imgH="272" progId="TCLayout.ActiveDocument.1">
                  <p:embed/>
                  <p:pic>
                    <p:nvPicPr>
                      <p:cNvPr id="12" name="Object 8" hidden="1">
                        <a:extLst>
                          <a:ext uri="{FF2B5EF4-FFF2-40B4-BE49-F238E27FC236}">
                            <a16:creationId xmlns:a16="http://schemas.microsoft.com/office/drawing/2014/main" id="{D3C85293-2865-4F72-814E-A7F671970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>
                <a16:creationId xmlns:a16="http://schemas.microsoft.com/office/drawing/2014/main" id="{8D611C05-1C8F-42B1-A9B8-38035564DA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875" b="1" dirty="0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39E6A7-ECF9-4CB0-90F5-CCAE8B32277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5529" y="207541"/>
            <a:ext cx="8312944" cy="5762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AI development experienced several false starts and ‘AI winters’ before it was </a:t>
            </a:r>
            <a:r>
              <a:rPr lang="en-US" dirty="0">
                <a:solidFill>
                  <a:schemeClr val="accent3"/>
                </a:solidFill>
              </a:rPr>
              <a:t>revived again in the last decade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CD0FCD7-D7B3-47FA-9F12-630C35D64861}"/>
              </a:ext>
            </a:extLst>
          </p:cNvPr>
          <p:cNvSpPr>
            <a:spLocks/>
          </p:cNvSpPr>
          <p:nvPr/>
        </p:nvSpPr>
        <p:spPr>
          <a:xfrm>
            <a:off x="415529" y="961171"/>
            <a:ext cx="8312944" cy="1580699"/>
          </a:xfrm>
          <a:custGeom>
            <a:avLst/>
            <a:gdLst>
              <a:gd name="connsiteX0" fmla="*/ 0 w 10935015"/>
              <a:gd name="connsiteY0" fmla="*/ 2539161 h 2539161"/>
              <a:gd name="connsiteX1" fmla="*/ 2456033 w 10935015"/>
              <a:gd name="connsiteY1" fmla="*/ 1632318 h 2539161"/>
              <a:gd name="connsiteX2" fmla="*/ 4186591 w 10935015"/>
              <a:gd name="connsiteY2" fmla="*/ 2063068 h 2539161"/>
              <a:gd name="connsiteX3" fmla="*/ 6385686 w 10935015"/>
              <a:gd name="connsiteY3" fmla="*/ 1398050 h 2539161"/>
              <a:gd name="connsiteX4" fmla="*/ 7987775 w 10935015"/>
              <a:gd name="connsiteY4" fmla="*/ 1677660 h 2539161"/>
              <a:gd name="connsiteX5" fmla="*/ 10935015 w 10935015"/>
              <a:gd name="connsiteY5" fmla="*/ 0 h 2539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5015" h="2539161">
                <a:moveTo>
                  <a:pt x="0" y="2539161"/>
                </a:moveTo>
                <a:cubicBezTo>
                  <a:pt x="879134" y="2125414"/>
                  <a:pt x="1758268" y="1711667"/>
                  <a:pt x="2456033" y="1632318"/>
                </a:cubicBezTo>
                <a:cubicBezTo>
                  <a:pt x="3153798" y="1552969"/>
                  <a:pt x="3531649" y="2102113"/>
                  <a:pt x="4186591" y="2063068"/>
                </a:cubicBezTo>
                <a:cubicBezTo>
                  <a:pt x="4841533" y="2024023"/>
                  <a:pt x="5752155" y="1462285"/>
                  <a:pt x="6385686" y="1398050"/>
                </a:cubicBezTo>
                <a:cubicBezTo>
                  <a:pt x="7019217" y="1333815"/>
                  <a:pt x="7229554" y="1910668"/>
                  <a:pt x="7987775" y="1677660"/>
                </a:cubicBezTo>
                <a:cubicBezTo>
                  <a:pt x="8745997" y="1444652"/>
                  <a:pt x="9840506" y="722326"/>
                  <a:pt x="10935015" y="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85800"/>
            <a:endParaRPr lang="en-US" sz="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3D109BA-1D79-4E84-85DC-1EAF842EA98B}"/>
              </a:ext>
            </a:extLst>
          </p:cNvPr>
          <p:cNvSpPr txBox="1">
            <a:spLocks/>
          </p:cNvSpPr>
          <p:nvPr/>
        </p:nvSpPr>
        <p:spPr>
          <a:xfrm>
            <a:off x="868400" y="2814468"/>
            <a:ext cx="49966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1500" b="1" dirty="0">
                <a:solidFill>
                  <a:srgbClr val="2251FF"/>
                </a:solidFill>
                <a:latin typeface="Georgia"/>
              </a:rPr>
              <a:t>1956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7552E2E-5C03-42D3-A354-AC7ADC27C403}"/>
              </a:ext>
            </a:extLst>
          </p:cNvPr>
          <p:cNvSpPr txBox="1">
            <a:spLocks/>
          </p:cNvSpPr>
          <p:nvPr/>
        </p:nvSpPr>
        <p:spPr>
          <a:xfrm>
            <a:off x="2595547" y="2814468"/>
            <a:ext cx="49966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1500" b="1" dirty="0">
                <a:solidFill>
                  <a:srgbClr val="2251FF"/>
                </a:solidFill>
                <a:latin typeface="Georgia"/>
              </a:rPr>
              <a:t>1974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59FCF16-BE58-4F6D-A57C-C6875533C30E}"/>
              </a:ext>
            </a:extLst>
          </p:cNvPr>
          <p:cNvSpPr txBox="1">
            <a:spLocks/>
          </p:cNvSpPr>
          <p:nvPr/>
        </p:nvSpPr>
        <p:spPr>
          <a:xfrm>
            <a:off x="4322694" y="2814468"/>
            <a:ext cx="49966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1500" b="1" dirty="0">
                <a:solidFill>
                  <a:srgbClr val="2251FF"/>
                </a:solidFill>
                <a:latin typeface="Georgia"/>
              </a:rPr>
              <a:t>198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252AF81-C061-45D2-9343-185A304613EC}"/>
              </a:ext>
            </a:extLst>
          </p:cNvPr>
          <p:cNvSpPr txBox="1">
            <a:spLocks/>
          </p:cNvSpPr>
          <p:nvPr/>
        </p:nvSpPr>
        <p:spPr>
          <a:xfrm>
            <a:off x="6049842" y="2814468"/>
            <a:ext cx="49966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1500" b="1" dirty="0">
                <a:solidFill>
                  <a:srgbClr val="2251FF"/>
                </a:solidFill>
                <a:latin typeface="Georgia"/>
              </a:rPr>
              <a:t>1987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32893D4-AE5E-4E24-A80C-59B20E17DC49}"/>
              </a:ext>
            </a:extLst>
          </p:cNvPr>
          <p:cNvSpPr txBox="1">
            <a:spLocks/>
          </p:cNvSpPr>
          <p:nvPr/>
        </p:nvSpPr>
        <p:spPr>
          <a:xfrm>
            <a:off x="7725616" y="2814468"/>
            <a:ext cx="602407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1500" b="1" dirty="0">
                <a:solidFill>
                  <a:srgbClr val="2251FF"/>
                </a:solidFill>
                <a:latin typeface="Georgia"/>
              </a:rPr>
              <a:t>2010s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CAC99FF-29F8-44E7-BA83-F5D81A1EB5E9}"/>
              </a:ext>
            </a:extLst>
          </p:cNvPr>
          <p:cNvPicPr>
            <a:picLocks/>
          </p:cNvPicPr>
          <p:nvPr/>
        </p:nvPicPr>
        <p:blipFill rotWithShape="1">
          <a:blip r:embed="rId13"/>
          <a:srcRect l="5773" r="34504" b="7462"/>
          <a:stretch/>
        </p:blipFill>
        <p:spPr>
          <a:xfrm>
            <a:off x="2412009" y="1646999"/>
            <a:ext cx="866735" cy="861480"/>
          </a:xfrm>
          <a:prstGeom prst="ellipse">
            <a:avLst/>
          </a:prstGeom>
          <a:ln w="38100">
            <a:solidFill>
              <a:schemeClr val="accent3"/>
            </a:solidFill>
          </a:ln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DC3691C2-F8DE-4938-B34D-96F7AF4DDBDB}"/>
              </a:ext>
            </a:extLst>
          </p:cNvPr>
          <p:cNvSpPr txBox="1">
            <a:spLocks/>
          </p:cNvSpPr>
          <p:nvPr/>
        </p:nvSpPr>
        <p:spPr>
          <a:xfrm>
            <a:off x="2143199" y="3138569"/>
            <a:ext cx="140435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Lighthill’s and ALPAC criticism on AI application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78CADEA3-1E9E-4E61-AA7A-5B00AAF8E53B}"/>
              </a:ext>
            </a:extLst>
          </p:cNvPr>
          <p:cNvPicPr>
            <a:picLocks/>
          </p:cNvPicPr>
          <p:nvPr/>
        </p:nvPicPr>
        <p:blipFill rotWithShape="1">
          <a:blip r:embed="rId14"/>
          <a:srcRect t="-51653" b="-51653"/>
          <a:stretch/>
        </p:blipFill>
        <p:spPr>
          <a:xfrm>
            <a:off x="684862" y="1862670"/>
            <a:ext cx="866735" cy="861480"/>
          </a:xfrm>
          <a:prstGeom prst="ellipse">
            <a:avLst/>
          </a:prstGeom>
          <a:solidFill>
            <a:srgbClr val="B6B4B2"/>
          </a:solidFill>
          <a:ln w="38100">
            <a:solidFill>
              <a:schemeClr val="accent3"/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58F1899-197F-4DA7-8979-07A9AEA24E00}"/>
              </a:ext>
            </a:extLst>
          </p:cNvPr>
          <p:cNvSpPr txBox="1">
            <a:spLocks/>
          </p:cNvSpPr>
          <p:nvPr/>
        </p:nvSpPr>
        <p:spPr>
          <a:xfrm>
            <a:off x="416052" y="3138569"/>
            <a:ext cx="140435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AI concept coined at Dartmouth workshop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A69AAB40-BD65-4D1B-92C4-1CA4B727D7B0}"/>
              </a:ext>
            </a:extLst>
          </p:cNvPr>
          <p:cNvPicPr>
            <a:picLocks/>
          </p:cNvPicPr>
          <p:nvPr/>
        </p:nvPicPr>
        <p:blipFill rotWithShape="1">
          <a:blip r:embed="rId15"/>
          <a:srcRect l="17731" r="17731"/>
          <a:stretch/>
        </p:blipFill>
        <p:spPr>
          <a:xfrm>
            <a:off x="4139156" y="1578939"/>
            <a:ext cx="866735" cy="861480"/>
          </a:xfrm>
          <a:prstGeom prst="ellipse">
            <a:avLst/>
          </a:prstGeom>
          <a:ln w="38100">
            <a:solidFill>
              <a:schemeClr val="accent3"/>
            </a:solidFill>
          </a:ln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5D482BC6-6CD9-4197-9C7B-9563EFB0AB63}"/>
              </a:ext>
            </a:extLst>
          </p:cNvPr>
          <p:cNvSpPr txBox="1">
            <a:spLocks/>
          </p:cNvSpPr>
          <p:nvPr/>
        </p:nvSpPr>
        <p:spPr>
          <a:xfrm>
            <a:off x="3870347" y="3138569"/>
            <a:ext cx="140435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Commercial success</a:t>
            </a:r>
            <a:br>
              <a:rPr lang="en-US" sz="900" dirty="0">
                <a:solidFill>
                  <a:srgbClr val="000000"/>
                </a:solidFill>
                <a:latin typeface="Arial"/>
              </a:rPr>
            </a:br>
            <a:r>
              <a:rPr lang="en-US" sz="900" dirty="0">
                <a:solidFill>
                  <a:srgbClr val="000000"/>
                </a:solidFill>
                <a:latin typeface="Arial"/>
              </a:rPr>
              <a:t>of expert system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225C055-E732-4C88-982F-E092B1E38471}"/>
              </a:ext>
            </a:extLst>
          </p:cNvPr>
          <p:cNvSpPr txBox="1">
            <a:spLocks/>
          </p:cNvSpPr>
          <p:nvPr/>
        </p:nvSpPr>
        <p:spPr>
          <a:xfrm>
            <a:off x="5597494" y="3142223"/>
            <a:ext cx="1404354" cy="25546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Collapse of expert system machine market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9ECB4CF2-9F65-4B54-A9B0-45B5B74D2E50}"/>
              </a:ext>
            </a:extLst>
          </p:cNvPr>
          <p:cNvPicPr>
            <a:picLocks/>
          </p:cNvPicPr>
          <p:nvPr/>
        </p:nvPicPr>
        <p:blipFill rotWithShape="1">
          <a:blip r:embed="rId16"/>
          <a:srcRect l="12607" r="12607"/>
          <a:stretch/>
        </p:blipFill>
        <p:spPr>
          <a:xfrm>
            <a:off x="5866303" y="1607514"/>
            <a:ext cx="866735" cy="861480"/>
          </a:xfrm>
          <a:prstGeom prst="ellipse">
            <a:avLst/>
          </a:prstGeom>
          <a:ln w="38100">
            <a:solidFill>
              <a:schemeClr val="accent3"/>
            </a:solidFill>
          </a:ln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DE0434F6-1546-49A8-BC6B-B4913CF3FE77}"/>
              </a:ext>
            </a:extLst>
          </p:cNvPr>
          <p:cNvPicPr>
            <a:picLocks/>
          </p:cNvPicPr>
          <p:nvPr/>
        </p:nvPicPr>
        <p:blipFill rotWithShape="1">
          <a:blip r:embed="rId17"/>
          <a:srcRect l="18208" t="6373" r="18208" b="6373"/>
          <a:stretch/>
        </p:blipFill>
        <p:spPr>
          <a:xfrm>
            <a:off x="7593451" y="921491"/>
            <a:ext cx="866735" cy="861480"/>
          </a:xfrm>
          <a:prstGeom prst="ellipse">
            <a:avLst/>
          </a:prstGeom>
          <a:ln w="38100">
            <a:solidFill>
              <a:schemeClr val="accent3"/>
            </a:solidFill>
          </a:ln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32149CC2-616A-42AB-989B-18F626558E23}"/>
              </a:ext>
            </a:extLst>
          </p:cNvPr>
          <p:cNvSpPr txBox="1">
            <a:spLocks/>
          </p:cNvSpPr>
          <p:nvPr/>
        </p:nvSpPr>
        <p:spPr>
          <a:xfrm>
            <a:off x="7324642" y="3142223"/>
            <a:ext cx="1404354" cy="25546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1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1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 defTabSz="671513">
              <a:buClr>
                <a:srgbClr val="FFFFFF"/>
              </a:buClr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Rise of machine learning techniqu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CA2835-B7C3-4D4E-902D-2BE5F0E84C7D}"/>
              </a:ext>
            </a:extLst>
          </p:cNvPr>
          <p:cNvSpPr>
            <a:spLocks/>
          </p:cNvSpPr>
          <p:nvPr/>
        </p:nvSpPr>
        <p:spPr>
          <a:xfrm>
            <a:off x="7324642" y="3675303"/>
            <a:ext cx="1404354" cy="1750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3373" rtlCol="0" anchor="b" anchorCtr="0">
            <a:no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Arial"/>
              </a:rPr>
              <a:t>New er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9FAC13-2491-4722-B05D-7B66F76E59BA}"/>
              </a:ext>
            </a:extLst>
          </p:cNvPr>
          <p:cNvSpPr>
            <a:spLocks/>
          </p:cNvSpPr>
          <p:nvPr/>
        </p:nvSpPr>
        <p:spPr>
          <a:xfrm>
            <a:off x="416052" y="3675303"/>
            <a:ext cx="1404354" cy="1750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3373" rtlCol="0" anchor="b" anchorCtr="0">
            <a:no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Arial"/>
              </a:rPr>
              <a:t>1</a:t>
            </a:r>
            <a:r>
              <a:rPr lang="en-US" sz="1050" b="1" baseline="30000" dirty="0">
                <a:solidFill>
                  <a:srgbClr val="000000"/>
                </a:solidFill>
                <a:latin typeface="Arial"/>
              </a:rPr>
              <a:t>st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boom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BAD698B-4ABA-4572-BBB4-5648F56E0A04}"/>
              </a:ext>
            </a:extLst>
          </p:cNvPr>
          <p:cNvCxnSpPr>
            <a:cxnSpLocks/>
          </p:cNvCxnSpPr>
          <p:nvPr/>
        </p:nvCxnSpPr>
        <p:spPr>
          <a:xfrm>
            <a:off x="416052" y="3602740"/>
            <a:ext cx="1404354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7FE9BA3A-F248-4C8E-A809-3D354C5D6AE8}"/>
              </a:ext>
            </a:extLst>
          </p:cNvPr>
          <p:cNvSpPr>
            <a:spLocks/>
          </p:cNvSpPr>
          <p:nvPr/>
        </p:nvSpPr>
        <p:spPr>
          <a:xfrm>
            <a:off x="2143199" y="3675303"/>
            <a:ext cx="1404354" cy="1750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3373" rtlCol="0" anchor="b" anchorCtr="0">
            <a:no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Arial"/>
              </a:rPr>
              <a:t>1</a:t>
            </a:r>
            <a:r>
              <a:rPr lang="en-US" sz="1050" b="1" baseline="30000" dirty="0">
                <a:solidFill>
                  <a:srgbClr val="000000"/>
                </a:solidFill>
                <a:latin typeface="Arial"/>
              </a:rPr>
              <a:t>st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wint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36EB081-77BA-4C57-907F-EF2613E26856}"/>
              </a:ext>
            </a:extLst>
          </p:cNvPr>
          <p:cNvSpPr>
            <a:spLocks/>
          </p:cNvSpPr>
          <p:nvPr/>
        </p:nvSpPr>
        <p:spPr>
          <a:xfrm>
            <a:off x="3870347" y="3675303"/>
            <a:ext cx="1404354" cy="1750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3373" rtlCol="0" anchor="b" anchorCtr="0">
            <a:no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Arial"/>
              </a:rPr>
              <a:t>2</a:t>
            </a:r>
            <a:r>
              <a:rPr lang="en-US" sz="1050" b="1" baseline="30000" dirty="0">
                <a:solidFill>
                  <a:srgbClr val="000000"/>
                </a:solidFill>
                <a:latin typeface="Arial"/>
              </a:rPr>
              <a:t>nd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boo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175D758-E679-4F17-B46C-7CBF29188432}"/>
              </a:ext>
            </a:extLst>
          </p:cNvPr>
          <p:cNvSpPr>
            <a:spLocks/>
          </p:cNvSpPr>
          <p:nvPr/>
        </p:nvSpPr>
        <p:spPr>
          <a:xfrm>
            <a:off x="5597494" y="3675303"/>
            <a:ext cx="1404354" cy="1750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3373" rtlCol="0" anchor="b" anchorCtr="0">
            <a:no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Arial"/>
              </a:rPr>
              <a:t>2</a:t>
            </a:r>
            <a:r>
              <a:rPr lang="en-US" sz="1050" b="1" baseline="30000" dirty="0">
                <a:solidFill>
                  <a:srgbClr val="000000"/>
                </a:solidFill>
                <a:latin typeface="Arial"/>
              </a:rPr>
              <a:t>nd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win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3DE674F-CD3E-4DA6-A56D-EE9FB76927F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16052" y="3917892"/>
            <a:ext cx="1404354" cy="6309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Heavily funded by government</a:t>
            </a:r>
          </a:p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Developed rapidly in logic theorem for general purpos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2EB59079-F5C2-472E-AA8E-A63D03F00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143199" y="3917892"/>
            <a:ext cx="1404354" cy="6822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Limited computing power</a:t>
            </a:r>
          </a:p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Limited available database</a:t>
            </a:r>
          </a:p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Government and public cut funding for AI research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0424B6A2-1334-47AE-932A-38FB38D5667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870347" y="3917892"/>
            <a:ext cx="1404354" cy="8207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Specialization in specific knowledge field</a:t>
            </a:r>
          </a:p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Easy-programming</a:t>
            </a:r>
          </a:p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Wide commercial applications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52693279-6FC4-402B-A20B-C4E365822CD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597494" y="3917892"/>
            <a:ext cx="1404354" cy="4796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High maintenance and expense of expert systems</a:t>
            </a:r>
          </a:p>
          <a:p>
            <a:pPr marL="2381" lvl="1" indent="0" defTabSz="685800">
              <a:spcBef>
                <a:spcPts val="338"/>
              </a:spcBef>
              <a:spcAft>
                <a:spcPts val="225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Non-robustness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462BD3B2-9CD8-4842-BEC4-50DC30E7CAD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324642" y="3917893"/>
            <a:ext cx="1404354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Bef>
                <a:spcPts val="225"/>
              </a:spcBef>
              <a:spcAft>
                <a:spcPts val="225"/>
              </a:spcAft>
              <a:buNone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?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2CE0663-94C7-4778-B09B-62736940997B}"/>
              </a:ext>
            </a:extLst>
          </p:cNvPr>
          <p:cNvCxnSpPr>
            <a:cxnSpLocks/>
          </p:cNvCxnSpPr>
          <p:nvPr/>
        </p:nvCxnSpPr>
        <p:spPr>
          <a:xfrm>
            <a:off x="2143199" y="3602740"/>
            <a:ext cx="1404354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D5A9FA0-2DA0-4E62-9E36-C6FB923AC814}"/>
              </a:ext>
            </a:extLst>
          </p:cNvPr>
          <p:cNvCxnSpPr>
            <a:cxnSpLocks/>
          </p:cNvCxnSpPr>
          <p:nvPr/>
        </p:nvCxnSpPr>
        <p:spPr>
          <a:xfrm>
            <a:off x="3870347" y="3602740"/>
            <a:ext cx="1404354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2B8506A-D765-4C1D-99A7-5B7C1BFC08F8}"/>
              </a:ext>
            </a:extLst>
          </p:cNvPr>
          <p:cNvCxnSpPr>
            <a:cxnSpLocks/>
          </p:cNvCxnSpPr>
          <p:nvPr/>
        </p:nvCxnSpPr>
        <p:spPr>
          <a:xfrm>
            <a:off x="5597494" y="3602740"/>
            <a:ext cx="1404354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F41A150-6F18-4FC9-8746-31B414CDD7E6}"/>
              </a:ext>
            </a:extLst>
          </p:cNvPr>
          <p:cNvCxnSpPr>
            <a:cxnSpLocks/>
          </p:cNvCxnSpPr>
          <p:nvPr/>
        </p:nvCxnSpPr>
        <p:spPr>
          <a:xfrm>
            <a:off x="7324642" y="3602740"/>
            <a:ext cx="1404354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0874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5BC06D36-5A21-4C36-B6D9-1FA4A62CEB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7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5BC06D36-5A21-4C36-B6D9-1FA4A62CE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7369A1DF-029B-43FD-80AD-D6F46ECAE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052" y="148734"/>
            <a:ext cx="8311896" cy="53668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r>
              <a:rPr lang="en-US" dirty="0"/>
              <a:t>Is this era going to be different? Better algorithms, improved hardware, increased data availability and AI-as-a-servi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964BDE0-00D3-4AF3-A353-47806F4CE7FE}"/>
              </a:ext>
            </a:extLst>
          </p:cNvPr>
          <p:cNvSpPr txBox="1">
            <a:spLocks/>
          </p:cNvSpPr>
          <p:nvPr/>
        </p:nvSpPr>
        <p:spPr>
          <a:xfrm>
            <a:off x="416052" y="1210804"/>
            <a:ext cx="3953875" cy="3231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Algorithms: Deep neural nets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and advanced deep learning methods have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improved accuracy</a:t>
            </a:r>
            <a:endParaRPr lang="en-US" sz="10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1B0331C-E1E0-4A90-8B33-C5A5718052F6}"/>
              </a:ext>
            </a:extLst>
          </p:cNvPr>
          <p:cNvSpPr txBox="1"/>
          <p:nvPr/>
        </p:nvSpPr>
        <p:spPr>
          <a:xfrm>
            <a:off x="4774073" y="1210804"/>
            <a:ext cx="3953875" cy="3231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Hardware: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Massively parallel (Nvidia) and low-precision (Google) architectures have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sped up hard compute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BC38AA8-CB5A-4081-A0B0-BA4693754608}"/>
              </a:ext>
            </a:extLst>
          </p:cNvPr>
          <p:cNvSpPr txBox="1"/>
          <p:nvPr/>
        </p:nvSpPr>
        <p:spPr>
          <a:xfrm>
            <a:off x="4774073" y="3033004"/>
            <a:ext cx="3953875" cy="3231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Al-as-a-service: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Open access Al cloud compute platforms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democratize access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F697351-F36C-4D9C-B230-16C8B551AFC1}"/>
              </a:ext>
            </a:extLst>
          </p:cNvPr>
          <p:cNvCxnSpPr/>
          <p:nvPr/>
        </p:nvCxnSpPr>
        <p:spPr>
          <a:xfrm>
            <a:off x="4571999" y="1210804"/>
            <a:ext cx="0" cy="1628701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E51E280-9434-435D-8286-3E40BC824F86}"/>
              </a:ext>
            </a:extLst>
          </p:cNvPr>
          <p:cNvCxnSpPr/>
          <p:nvPr/>
        </p:nvCxnSpPr>
        <p:spPr>
          <a:xfrm>
            <a:off x="4586467" y="3033003"/>
            <a:ext cx="0" cy="1628701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1A4828-82C3-4793-8775-699238728134}"/>
              </a:ext>
            </a:extLst>
          </p:cNvPr>
          <p:cNvCxnSpPr>
            <a:cxnSpLocks/>
          </p:cNvCxnSpPr>
          <p:nvPr/>
        </p:nvCxnSpPr>
        <p:spPr>
          <a:xfrm>
            <a:off x="416052" y="2936255"/>
            <a:ext cx="3953875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E860DDC-7874-4D00-BBD9-25DD9632C3CA}"/>
              </a:ext>
            </a:extLst>
          </p:cNvPr>
          <p:cNvCxnSpPr>
            <a:cxnSpLocks/>
          </p:cNvCxnSpPr>
          <p:nvPr/>
        </p:nvCxnSpPr>
        <p:spPr>
          <a:xfrm>
            <a:off x="4774073" y="2936255"/>
            <a:ext cx="3953875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6AB1BBD-D882-44DA-85E5-7D7652F5B751}"/>
              </a:ext>
            </a:extLst>
          </p:cNvPr>
          <p:cNvSpPr txBox="1">
            <a:spLocks/>
          </p:cNvSpPr>
          <p:nvPr/>
        </p:nvSpPr>
        <p:spPr>
          <a:xfrm>
            <a:off x="416052" y="1623697"/>
            <a:ext cx="3953875" cy="1384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Human vs. Computer Error Rates in image classification, </a:t>
            </a:r>
            <a:r>
              <a:rPr lang="en-US" sz="900" dirty="0">
                <a:solidFill>
                  <a:srgbClr val="000000"/>
                </a:solidFill>
                <a:latin typeface="Arial"/>
              </a:rPr>
              <a:t>%</a:t>
            </a:r>
            <a:r>
              <a:rPr lang="en-US" sz="900" b="1" dirty="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36C8885-8D4B-4FC3-8BBC-D16E2CE9151A}"/>
              </a:ext>
            </a:extLst>
          </p:cNvPr>
          <p:cNvSpPr txBox="1"/>
          <p:nvPr/>
        </p:nvSpPr>
        <p:spPr>
          <a:xfrm>
            <a:off x="4774073" y="1623697"/>
            <a:ext cx="3953875" cy="1384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GPU Image/second Training Speed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36E1AA9-BB21-48CB-90E4-8317D28555F3}"/>
              </a:ext>
            </a:extLst>
          </p:cNvPr>
          <p:cNvSpPr txBox="1"/>
          <p:nvPr/>
        </p:nvSpPr>
        <p:spPr>
          <a:xfrm>
            <a:off x="416052" y="3033004"/>
            <a:ext cx="3953875" cy="32316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Data availability: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Availability of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more data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leads to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higher accuracy </a:t>
            </a:r>
          </a:p>
        </p:txBody>
      </p:sp>
      <p:graphicFrame>
        <p:nvGraphicFramePr>
          <p:cNvPr id="70" name="Chart 69">
            <a:extLst>
              <a:ext uri="{FF2B5EF4-FFF2-40B4-BE49-F238E27FC236}">
                <a16:creationId xmlns:a16="http://schemas.microsoft.com/office/drawing/2014/main" id="{DA5AF644-38E3-470C-808A-F69C4EB5B96E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53617" y="1905000"/>
          <a:ext cx="4077890" cy="829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42975" y="2711054"/>
            <a:ext cx="261938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fld id="{0154D629-A7BB-43D5-A2D6-6BD247710A37}" type="datetime'''''''''''''2''''0''''''''''''''1''''''''''0'''''">
              <a:rPr lang="en-US" altLang="en-US" sz="900">
                <a:solidFill>
                  <a:srgbClr val="000000"/>
                </a:solidFill>
                <a:latin typeface="Arial"/>
              </a:rPr>
              <a:pPr algn="ctr" defTabSz="685800">
                <a:spcBef>
                  <a:spcPct val="0"/>
                </a:spcBef>
                <a:spcAft>
                  <a:spcPct val="0"/>
                </a:spcAft>
                <a:defRPr/>
              </a:pPr>
              <a:t>2010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579019" y="2711054"/>
            <a:ext cx="261938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fld id="{E0A6DDC8-F319-4988-9856-20ABBAEF627F}" type="datetime'''''2''0''''''''''''''''''''''''''1''''''7'''''''''''''''''''">
              <a:rPr lang="en-US" altLang="en-US" sz="900">
                <a:solidFill>
                  <a:srgbClr val="000000"/>
                </a:solidFill>
                <a:latin typeface="Arial"/>
              </a:rPr>
              <a:pPr algn="ctr" defTabSz="685800">
                <a:spcBef>
                  <a:spcPct val="0"/>
                </a:spcBef>
                <a:spcAft>
                  <a:spcPct val="0"/>
                </a:spcAft>
                <a:defRPr/>
              </a:pPr>
              <a:t>2017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324101" y="2711054"/>
            <a:ext cx="135731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fld id="{FD5EB09C-8F8C-4A09-9C2D-E4E60A9ACC47}" type="datetime'''''''''''''''''''''''''''''''''''''1''3'''''''">
              <a:rPr lang="en-US" altLang="en-US" sz="900">
                <a:solidFill>
                  <a:srgbClr val="000000"/>
                </a:solidFill>
                <a:latin typeface="Arial"/>
              </a:rPr>
              <a:pPr algn="ctr" defTabSz="685800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CCB1BB6-60EB-4BF3-9B95-9E251CE1D14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808810" y="1821657"/>
            <a:ext cx="103585" cy="103585"/>
          </a:xfrm>
          <a:prstGeom prst="rect">
            <a:avLst/>
          </a:prstGeom>
          <a:solidFill>
            <a:schemeClr val="accent2"/>
          </a:solidFill>
          <a:ln w="9525" cap="sq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E9420A2-6AF7-4B14-B616-F1253384EE0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284935" y="1821657"/>
            <a:ext cx="103585" cy="103585"/>
          </a:xfrm>
          <a:prstGeom prst="rect">
            <a:avLst/>
          </a:prstGeom>
          <a:solidFill>
            <a:schemeClr val="accent1"/>
          </a:solidFill>
          <a:ln w="9525" cap="sq" algn="ctr">
            <a:solidFill>
              <a:schemeClr val="bg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426619" y="1819275"/>
            <a:ext cx="305991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50" dirty="0">
                <a:solidFill>
                  <a:srgbClr val="000000"/>
                </a:solidFill>
                <a:latin typeface="Arial"/>
              </a:rPr>
              <a:t>Human</a:t>
            </a:r>
            <a:endParaRPr 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950494" y="1819275"/>
            <a:ext cx="416719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50" dirty="0">
                <a:solidFill>
                  <a:srgbClr val="000000"/>
                </a:solidFill>
                <a:latin typeface="Arial"/>
              </a:rPr>
              <a:t>Computer</a:t>
            </a:r>
            <a:endParaRPr lang="en-US" sz="75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D4C5F84A-14D5-460F-AE29-2F58B623DC1C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4712494" y="1905000"/>
          <a:ext cx="4077891" cy="829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57177960-980A-4DDA-BEA8-F6670E2CE3D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136356" y="2711054"/>
            <a:ext cx="261938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fld id="{2ACAE8A1-0A0A-46D0-9C1B-B596DD0DCCD1}" type="datetime'''''''''2''0''''''''''''''''''1''''3'''">
              <a:rPr lang="en-US" altLang="en-US" sz="900">
                <a:solidFill>
                  <a:srgbClr val="000000"/>
                </a:solidFill>
                <a:latin typeface="Arial"/>
              </a:rPr>
              <a:pPr algn="ctr" defTabSz="685800">
                <a:spcBef>
                  <a:spcPct val="0"/>
                </a:spcBef>
                <a:spcAft>
                  <a:spcPct val="0"/>
                </a:spcAft>
                <a:defRPr/>
              </a:pPr>
              <a:t>2013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FF9584C9-CF84-40E5-A363-0EC4A650CA9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188869" y="2711054"/>
            <a:ext cx="135731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fld id="{F0580F81-0A88-44A1-A421-4864827D0948}" type="datetime'''''''''''14'''''''''''''''''">
              <a:rPr lang="en-US" altLang="en-US" sz="900">
                <a:solidFill>
                  <a:srgbClr val="000000"/>
                </a:solidFill>
                <a:latin typeface="Arial"/>
              </a:rPr>
              <a:pPr algn="ctr" defTabSz="685800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C3217B0D-0F23-440E-8BF7-F64F949E2EA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177088" y="2711054"/>
            <a:ext cx="135731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fld id="{C3F8FDF5-2A78-420A-AD1B-FF5BE32D214D}" type="datetime'''''''''1''''''''''''''''''''''''5'''''''''''''">
              <a:rPr lang="en-US" altLang="en-US" sz="900">
                <a:solidFill>
                  <a:srgbClr val="000000"/>
                </a:solidFill>
                <a:latin typeface="Arial"/>
              </a:rPr>
              <a:pPr algn="ctr" defTabSz="685800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8EEFA06A-7C77-4159-9529-22405A5F8B5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102203" y="2711054"/>
            <a:ext cx="261938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fld id="{E6F5E79B-E276-43FD-AF84-544D430D37B6}" type="datetime'''''''''''''2''0''''''''''''''''''''''''''1''6'''''">
              <a:rPr lang="en-US" altLang="en-US" sz="900">
                <a:solidFill>
                  <a:srgbClr val="000000"/>
                </a:solidFill>
                <a:latin typeface="Arial"/>
              </a:rPr>
              <a:pPr algn="ctr" defTabSz="685800">
                <a:spcBef>
                  <a:spcPct val="0"/>
                </a:spcBef>
                <a:spcAft>
                  <a:spcPct val="0"/>
                </a:spcAft>
                <a:defRPr/>
              </a:pPr>
              <a:t>2016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89553D04-F825-47ED-9E2A-ABFA2B007530}"/>
              </a:ext>
            </a:extLst>
          </p:cNvPr>
          <p:cNvSpPr txBox="1">
            <a:spLocks/>
          </p:cNvSpPr>
          <p:nvPr/>
        </p:nvSpPr>
        <p:spPr>
          <a:xfrm>
            <a:off x="1943100" y="1913520"/>
            <a:ext cx="756617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Deep Learning</a:t>
            </a: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7E66597B-6FB0-4CBE-8B53-A520DA67D961}"/>
              </a:ext>
            </a:extLst>
          </p:cNvPr>
          <p:cNvCxnSpPr/>
          <p:nvPr/>
        </p:nvCxnSpPr>
        <p:spPr>
          <a:xfrm>
            <a:off x="1432560" y="1982769"/>
            <a:ext cx="472440" cy="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4" name="Chart 263">
            <a:extLst>
              <a:ext uri="{FF2B5EF4-FFF2-40B4-BE49-F238E27FC236}">
                <a16:creationId xmlns:a16="http://schemas.microsoft.com/office/drawing/2014/main" id="{1538FF50-BC80-4A96-899B-1F7E57AA8188}"/>
              </a:ext>
            </a:extLst>
          </p:cNvPr>
          <p:cNvGraphicFramePr/>
          <p:nvPr>
            <p:custDataLst>
              <p:tags r:id="rId16"/>
            </p:custDataLst>
          </p:nvPr>
        </p:nvGraphicFramePr>
        <p:xfrm>
          <a:off x="1252538" y="3540919"/>
          <a:ext cx="3178969" cy="939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48941" y="3534967"/>
            <a:ext cx="189310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 defTabSz="685800">
              <a:spcBef>
                <a:spcPct val="0"/>
              </a:spcBef>
              <a:spcAft>
                <a:spcPct val="0"/>
              </a:spcAft>
              <a:defRPr/>
            </a:pPr>
            <a:fld id="{DCB7263E-018E-45F6-9147-0865FC138967}" type="datetime'1''''''''0''''''''''''''''''''0'''''''''''''''''">
              <a:rPr lang="en-US" altLang="en-US" sz="900">
                <a:solidFill>
                  <a:srgbClr val="000000"/>
                </a:solidFill>
                <a:latin typeface="Arial"/>
              </a:rPr>
              <a:pPr algn="r" defTabSz="685800">
                <a:spcBef>
                  <a:spcPct val="0"/>
                </a:spcBef>
                <a:spcAft>
                  <a:spcPct val="0"/>
                </a:spcAft>
                <a:defRPr/>
              </a:pPr>
              <a:t>100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12045" y="3806429"/>
            <a:ext cx="126206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 defTabSz="685800">
              <a:spcBef>
                <a:spcPct val="0"/>
              </a:spcBef>
              <a:spcAft>
                <a:spcPct val="0"/>
              </a:spcAft>
              <a:defRPr/>
            </a:pPr>
            <a:fld id="{2D51BC46-A9D9-4DA5-8DF0-06994C737056}" type="datetime'''''''''''''''''''''''''''''''''''90'''''''''''''''''''''">
              <a:rPr lang="en-US" altLang="en-US" sz="900">
                <a:solidFill>
                  <a:srgbClr val="000000"/>
                </a:solidFill>
                <a:latin typeface="Arial"/>
              </a:rPr>
              <a:pPr algn="r" defTabSz="685800">
                <a:spcBef>
                  <a:spcPct val="0"/>
                </a:spcBef>
                <a:spcAft>
                  <a:spcPct val="0"/>
                </a:spcAft>
                <a:defRPr/>
              </a:pPr>
              <a:t>90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112045" y="4079082"/>
            <a:ext cx="126206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 defTabSz="685800">
              <a:spcBef>
                <a:spcPct val="0"/>
              </a:spcBef>
              <a:spcAft>
                <a:spcPct val="0"/>
              </a:spcAft>
              <a:defRPr/>
            </a:pPr>
            <a:fld id="{D2F7367D-169A-4AA4-BB3D-33D1DFC8AA91}" type="datetime'''''''''''8''''''''''''''''''''''''''0'''''''''''">
              <a:rPr lang="en-US" altLang="en-US" sz="900">
                <a:solidFill>
                  <a:srgbClr val="000000"/>
                </a:solidFill>
                <a:latin typeface="Arial"/>
              </a:rPr>
              <a:pPr algn="r" defTabSz="685800">
                <a:spcBef>
                  <a:spcPct val="0"/>
                </a:spcBef>
                <a:spcAft>
                  <a:spcPct val="0"/>
                </a:spcAft>
                <a:defRPr/>
              </a:pPr>
              <a:t>80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112045" y="4350544"/>
            <a:ext cx="126206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 defTabSz="685800">
              <a:spcBef>
                <a:spcPct val="0"/>
              </a:spcBef>
              <a:spcAft>
                <a:spcPct val="0"/>
              </a:spcAft>
              <a:defRPr/>
            </a:pPr>
            <a:fld id="{98D195C3-BB54-4E1C-AFAC-2DCED47BCCD9}" type="datetime'''''''''''''''7''''''''''''''''''''0'''''''">
              <a:rPr lang="en-US" altLang="en-US" sz="900">
                <a:solidFill>
                  <a:srgbClr val="000000"/>
                </a:solidFill>
                <a:latin typeface="Arial"/>
              </a:rPr>
              <a:pPr algn="r" defTabSz="685800">
                <a:spcBef>
                  <a:spcPct val="0"/>
                </a:spcBef>
                <a:spcAft>
                  <a:spcPct val="0"/>
                </a:spcAft>
                <a:defRPr/>
              </a:pPr>
              <a:t>70</a:t>
            </a:fld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21482" y="3534967"/>
            <a:ext cx="535781" cy="27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b="1" dirty="0">
                <a:solidFill>
                  <a:srgbClr val="000000"/>
                </a:solidFill>
                <a:latin typeface="Arial"/>
              </a:rPr>
              <a:t>Accuracy,</a:t>
            </a:r>
            <a:br>
              <a:rPr lang="en-US" altLang="en-US" sz="900" b="1" dirty="0">
                <a:solidFill>
                  <a:srgbClr val="000000"/>
                </a:solidFill>
                <a:latin typeface="Arial"/>
              </a:rPr>
            </a:br>
            <a:r>
              <a:rPr lang="en-US" altLang="en-US" sz="900" dirty="0">
                <a:solidFill>
                  <a:srgbClr val="000000"/>
                </a:solidFill>
                <a:latin typeface="Arial"/>
              </a:rPr>
              <a:t>%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533775" y="4513660"/>
            <a:ext cx="839391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b="1" dirty="0">
                <a:solidFill>
                  <a:srgbClr val="000000"/>
                </a:solidFill>
                <a:latin typeface="Arial"/>
              </a:rPr>
              <a:t>Amount of data</a:t>
            </a:r>
            <a:endParaRPr lang="en-US" sz="9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550E7B14-6667-437F-BFF0-F872A60CAD41}"/>
              </a:ext>
            </a:extLst>
          </p:cNvPr>
          <p:cNvSpPr txBox="1">
            <a:spLocks/>
          </p:cNvSpPr>
          <p:nvPr/>
        </p:nvSpPr>
        <p:spPr>
          <a:xfrm>
            <a:off x="5368513" y="3505265"/>
            <a:ext cx="455253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Amazon </a:t>
            </a:r>
            <a:br>
              <a:rPr lang="en-US" sz="900" dirty="0">
                <a:solidFill>
                  <a:srgbClr val="000000"/>
                </a:solidFill>
                <a:latin typeface="Arial"/>
              </a:rPr>
            </a:br>
            <a:r>
              <a:rPr lang="en-US" sz="900" dirty="0">
                <a:solidFill>
                  <a:srgbClr val="000000"/>
                </a:solidFill>
                <a:latin typeface="Arial"/>
              </a:rPr>
              <a:t>Lex</a:t>
            </a:r>
            <a:endParaRPr lang="en-US" sz="900" b="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id="{115D78DF-9B7D-4634-99CD-A66B8F57A9B8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865467" y="3415429"/>
            <a:ext cx="456671" cy="456671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A77E1251-96FA-462B-9F07-DF4163D750B9}"/>
              </a:ext>
            </a:extLst>
          </p:cNvPr>
          <p:cNvPicPr>
            <a:picLocks noChangeAspect="1"/>
          </p:cNvPicPr>
          <p:nvPr/>
        </p:nvPicPr>
        <p:blipFill rotWithShape="1">
          <a:blip r:embed="rId42"/>
          <a:srcRect l="28045" t="2650" r="28045" b="5981"/>
          <a:stretch/>
        </p:blipFill>
        <p:spPr>
          <a:xfrm>
            <a:off x="4774072" y="3953208"/>
            <a:ext cx="639461" cy="708496"/>
          </a:xfrm>
          <a:prstGeom prst="rect">
            <a:avLst/>
          </a:prstGeom>
        </p:spPr>
      </p:pic>
      <p:sp>
        <p:nvSpPr>
          <p:cNvPr id="134" name="TextBox 133">
            <a:extLst>
              <a:ext uri="{FF2B5EF4-FFF2-40B4-BE49-F238E27FC236}">
                <a16:creationId xmlns:a16="http://schemas.microsoft.com/office/drawing/2014/main" id="{7EB4BFC9-1E30-4F10-83B5-6F5A5FCD1A98}"/>
              </a:ext>
            </a:extLst>
          </p:cNvPr>
          <p:cNvSpPr txBox="1">
            <a:spLocks/>
          </p:cNvSpPr>
          <p:nvPr/>
        </p:nvSpPr>
        <p:spPr>
          <a:xfrm>
            <a:off x="6521064" y="4217214"/>
            <a:ext cx="72861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Google Cloud Vision</a:t>
            </a:r>
            <a:endParaRPr lang="en-US" sz="9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E4D87A8F-495F-4075-AF7C-B117D8CF9DE6}"/>
              </a:ext>
            </a:extLst>
          </p:cNvPr>
          <p:cNvSpPr txBox="1">
            <a:spLocks/>
          </p:cNvSpPr>
          <p:nvPr/>
        </p:nvSpPr>
        <p:spPr>
          <a:xfrm>
            <a:off x="6521064" y="3505265"/>
            <a:ext cx="72861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Google Cloud Translation</a:t>
            </a:r>
            <a:endParaRPr lang="en-US" sz="900" b="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40" name="Picture 139">
            <a:extLst>
              <a:ext uri="{FF2B5EF4-FFF2-40B4-BE49-F238E27FC236}">
                <a16:creationId xmlns:a16="http://schemas.microsoft.com/office/drawing/2014/main" id="{1701CD4C-32CF-4953-9C67-170FB847EEF8}"/>
              </a:ext>
            </a:extLst>
          </p:cNvPr>
          <p:cNvPicPr>
            <a:picLocks/>
          </p:cNvPicPr>
          <p:nvPr/>
        </p:nvPicPr>
        <p:blipFill>
          <a:blip r:embed="rId43"/>
          <a:stretch>
            <a:fillRect/>
          </a:stretch>
        </p:blipFill>
        <p:spPr>
          <a:xfrm>
            <a:off x="5936510" y="3390235"/>
            <a:ext cx="497072" cy="507062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D26FE075-3A04-4235-AA40-C2AC2A6394A5}"/>
              </a:ext>
            </a:extLst>
          </p:cNvPr>
          <p:cNvPicPr>
            <a:picLocks/>
          </p:cNvPicPr>
          <p:nvPr/>
        </p:nvPicPr>
        <p:blipFill>
          <a:blip r:embed="rId44"/>
          <a:stretch>
            <a:fillRect/>
          </a:stretch>
        </p:blipFill>
        <p:spPr>
          <a:xfrm>
            <a:off x="5936510" y="4102183"/>
            <a:ext cx="497072" cy="507062"/>
          </a:xfrm>
          <a:prstGeom prst="rect">
            <a:avLst/>
          </a:prstGeom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3730400C-6805-4E0B-8D7D-320CF288C4E5}"/>
              </a:ext>
            </a:extLst>
          </p:cNvPr>
          <p:cNvSpPr txBox="1">
            <a:spLocks/>
          </p:cNvSpPr>
          <p:nvPr/>
        </p:nvSpPr>
        <p:spPr>
          <a:xfrm>
            <a:off x="7940041" y="3861240"/>
            <a:ext cx="78790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Google Cloud Speech-to-Text </a:t>
            </a:r>
            <a:endParaRPr lang="en-US" sz="900" b="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42" name="Picture 141">
            <a:extLst>
              <a:ext uri="{FF2B5EF4-FFF2-40B4-BE49-F238E27FC236}">
                <a16:creationId xmlns:a16="http://schemas.microsoft.com/office/drawing/2014/main" id="{672DE966-AC36-4551-8A7C-5368BE01B5A8}"/>
              </a:ext>
            </a:extLst>
          </p:cNvPr>
          <p:cNvPicPr>
            <a:picLocks/>
          </p:cNvPicPr>
          <p:nvPr/>
        </p:nvPicPr>
        <p:blipFill>
          <a:blip r:embed="rId4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63222" y="3746209"/>
            <a:ext cx="497072" cy="507062"/>
          </a:xfrm>
          <a:prstGeom prst="rect">
            <a:avLst/>
          </a:prstGeom>
        </p:spPr>
      </p:pic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AAA21D49-D43F-4156-A4EE-90792653DC0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1365647" y="3448050"/>
            <a:ext cx="153591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D4B20401-D212-4E2A-823F-680653ECE99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2281238" y="3448050"/>
            <a:ext cx="153591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00AA837F-76E4-47FC-B882-9CE7E7A97A73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3095625" y="3448050"/>
            <a:ext cx="153591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50B77F43-6823-4A2B-8B3E-F387B85D4D96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3830241" y="3448050"/>
            <a:ext cx="153591" cy="0"/>
          </a:xfrm>
          <a:prstGeom prst="line">
            <a:avLst/>
          </a:prstGeom>
          <a:ln w="19050" cap="rnd" cmpd="sng" algn="ctr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1" name="Oval 230">
            <a:extLst>
              <a:ext uri="{FF2B5EF4-FFF2-40B4-BE49-F238E27FC236}">
                <a16:creationId xmlns:a16="http://schemas.microsoft.com/office/drawing/2014/main" id="{0043AC96-3F9D-4EA3-9215-F341402429A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413272" y="3419475"/>
            <a:ext cx="57150" cy="57150"/>
          </a:xfrm>
          <a:prstGeom prst="ellipse">
            <a:avLst/>
          </a:prstGeom>
          <a:solidFill>
            <a:schemeClr val="accent1"/>
          </a:solidFill>
          <a:ln w="9525" cap="sq" algn="ctr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274E23CB-3A12-43B0-A0C4-A6C6648AAE04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2328863" y="3419475"/>
            <a:ext cx="57150" cy="57150"/>
          </a:xfrm>
          <a:prstGeom prst="rect">
            <a:avLst/>
          </a:prstGeom>
          <a:solidFill>
            <a:schemeClr val="accent2"/>
          </a:solidFill>
          <a:ln w="9525" cap="sq" algn="ctr">
            <a:solidFill>
              <a:schemeClr val="accent2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4" name="Isosceles Triangle 233">
            <a:extLst>
              <a:ext uri="{FF2B5EF4-FFF2-40B4-BE49-F238E27FC236}">
                <a16:creationId xmlns:a16="http://schemas.microsoft.com/office/drawing/2014/main" id="{794139EA-106D-4A87-B906-71D4504175FC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143250" y="3419475"/>
            <a:ext cx="57150" cy="57150"/>
          </a:xfrm>
          <a:prstGeom prst="triangle">
            <a:avLst/>
          </a:prstGeom>
          <a:solidFill>
            <a:schemeClr val="accent3"/>
          </a:solidFill>
          <a:ln w="9525" cap="sq" algn="ctr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5" name="Diamond 234">
            <a:extLst>
              <a:ext uri="{FF2B5EF4-FFF2-40B4-BE49-F238E27FC236}">
                <a16:creationId xmlns:a16="http://schemas.microsoft.com/office/drawing/2014/main" id="{03833F24-2D52-4C44-87A5-3C9E5F57578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3877866" y="3419475"/>
            <a:ext cx="57150" cy="57150"/>
          </a:xfrm>
          <a:prstGeom prst="diamond">
            <a:avLst/>
          </a:prstGeom>
          <a:solidFill>
            <a:schemeClr val="folHlink"/>
          </a:solidFill>
          <a:ln w="9525" cap="sq" algn="ctr">
            <a:solidFill>
              <a:schemeClr val="folHlink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A07BFEEE-C52D-4FD7-BDCC-EA559C79D5E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029075" y="3394472"/>
            <a:ext cx="33813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85800">
              <a:spcBef>
                <a:spcPct val="0"/>
              </a:spcBef>
              <a:spcAft>
                <a:spcPct val="0"/>
              </a:spcAft>
              <a:defRPr/>
            </a:pPr>
            <a:fld id="{85ABEFF0-B97E-426C-A65D-E4BA5FD1A2C9}" type="datetime'''''''''''''W''''''''''''''''i''''''''''''n''n''''ow'''''''''">
              <a:rPr lang="en-US" altLang="en-US" sz="750">
                <a:solidFill>
                  <a:srgbClr val="000000"/>
                </a:solidFill>
                <a:latin typeface="Arial"/>
              </a:rPr>
              <a:pPr defTabSz="685800">
                <a:spcBef>
                  <a:spcPct val="0"/>
                </a:spcBef>
                <a:spcAft>
                  <a:spcPct val="0"/>
                </a:spcAft>
                <a:defRPr/>
              </a:pPr>
              <a:t>Winnow</a:t>
            </a:fld>
            <a:endParaRPr 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564481" y="3394472"/>
            <a:ext cx="633413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85800">
              <a:spcBef>
                <a:spcPct val="0"/>
              </a:spcBef>
              <a:spcAft>
                <a:spcPct val="0"/>
              </a:spcAft>
              <a:defRPr/>
            </a:pPr>
            <a:fld id="{79C1924B-24D5-4402-BDA8-A6CAAC51840B}" type="datetime'''''Me''''m''o''r''''''y''-''''b''a''''''''''s''''ed'''">
              <a:rPr lang="en-US" altLang="en-US" sz="750">
                <a:solidFill>
                  <a:srgbClr val="000000"/>
                </a:solidFill>
                <a:latin typeface="Arial"/>
              </a:rPr>
              <a:pPr defTabSz="685800">
                <a:spcBef>
                  <a:spcPct val="0"/>
                </a:spcBef>
                <a:spcAft>
                  <a:spcPct val="0"/>
                </a:spcAft>
                <a:defRPr/>
              </a:pPr>
              <a:t>Memory-based</a:t>
            </a:fld>
            <a:endParaRPr 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480073" y="3394472"/>
            <a:ext cx="53221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85800">
              <a:spcBef>
                <a:spcPct val="0"/>
              </a:spcBef>
              <a:spcAft>
                <a:spcPct val="0"/>
              </a:spcAft>
              <a:defRPr/>
            </a:pPr>
            <a:fld id="{46E87C9E-2E76-4BA8-AE81-BFE4AEA749BF}" type="datetime'''''''''''N''''''''''a''''''i''''v''''e'' Ba''''''ye''''s'">
              <a:rPr lang="en-US" altLang="en-US" sz="750">
                <a:solidFill>
                  <a:srgbClr val="000000"/>
                </a:solidFill>
                <a:latin typeface="Arial"/>
              </a:rPr>
              <a:pPr defTabSz="685800">
                <a:spcBef>
                  <a:spcPct val="0"/>
                </a:spcBef>
                <a:spcAft>
                  <a:spcPct val="0"/>
                </a:spcAft>
                <a:defRPr/>
              </a:pPr>
              <a:t>Naive Bayes</a:t>
            </a:fld>
            <a:endParaRPr 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AA8232A2-79A8-4B56-B26A-28F9F5E56B6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294460" y="3394472"/>
            <a:ext cx="45243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85800">
              <a:spcBef>
                <a:spcPct val="0"/>
              </a:spcBef>
              <a:spcAft>
                <a:spcPct val="0"/>
              </a:spcAft>
              <a:defRPr/>
            </a:pPr>
            <a:fld id="{0460698C-34E0-49E1-8F5A-41949FDEFF5E}" type="datetime'''''Pe''''''''r''''c''e''''''''p''''''''''''t''''io''''n'''''">
              <a:rPr lang="en-US" altLang="en-US" sz="750">
                <a:solidFill>
                  <a:srgbClr val="000000"/>
                </a:solidFill>
                <a:latin typeface="Arial"/>
              </a:rPr>
              <a:pPr defTabSz="685800">
                <a:spcBef>
                  <a:spcPct val="0"/>
                </a:spcBef>
                <a:spcAft>
                  <a:spcPct val="0"/>
                </a:spcAft>
                <a:defRPr/>
              </a:pPr>
              <a:t>Perception</a:t>
            </a:fld>
            <a:endParaRPr 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8E4225-E514-431B-9811-02764CE892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033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0D0468E5-2E6E-413F-9B36-EB271006E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1" name="think-cell Slide" r:id="rId31" imgW="347" imgH="348" progId="TCLayout.ActiveDocument.1">
                  <p:embed/>
                </p:oleObj>
              </mc:Choice>
              <mc:Fallback>
                <p:oleObj name="think-cell Slide" r:id="rId31" imgW="347" imgH="34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0D0468E5-2E6E-413F-9B36-EB271006E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Rectangle 85">
            <a:extLst>
              <a:ext uri="{FF2B5EF4-FFF2-40B4-BE49-F238E27FC236}">
                <a16:creationId xmlns:a16="http://schemas.microsoft.com/office/drawing/2014/main" id="{B8232838-5466-4758-8D14-18ED9E8FE8D4}"/>
              </a:ext>
            </a:extLst>
          </p:cNvPr>
          <p:cNvSpPr/>
          <p:nvPr/>
        </p:nvSpPr>
        <p:spPr>
          <a:xfrm>
            <a:off x="7738123" y="966955"/>
            <a:ext cx="152599" cy="13088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solidFill>
              <a:schemeClr val="accent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76A557B9-720B-4AD8-8B8F-4E523A5FE990}"/>
              </a:ext>
            </a:extLst>
          </p:cNvPr>
          <p:cNvSpPr/>
          <p:nvPr/>
        </p:nvSpPr>
        <p:spPr>
          <a:xfrm>
            <a:off x="3009948" y="1518735"/>
            <a:ext cx="5718000" cy="1742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solidFill>
              <a:schemeClr val="accent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9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46A4287F-7DF5-406C-8B2C-BF42E91C9261}"/>
              </a:ext>
            </a:extLst>
          </p:cNvPr>
          <p:cNvSpPr/>
          <p:nvPr/>
        </p:nvSpPr>
        <p:spPr>
          <a:xfrm>
            <a:off x="3009948" y="2052515"/>
            <a:ext cx="5718000" cy="1742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solidFill>
              <a:schemeClr val="accent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9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5840651E-8C95-4858-A42D-9AF5D7581790}"/>
              </a:ext>
            </a:extLst>
          </p:cNvPr>
          <p:cNvSpPr/>
          <p:nvPr/>
        </p:nvSpPr>
        <p:spPr>
          <a:xfrm>
            <a:off x="3009948" y="2584426"/>
            <a:ext cx="5718000" cy="1742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solidFill>
              <a:schemeClr val="accent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9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72F4B6A-09D7-4E44-82C8-2307BFAEE335}"/>
              </a:ext>
            </a:extLst>
          </p:cNvPr>
          <p:cNvSpPr/>
          <p:nvPr/>
        </p:nvSpPr>
        <p:spPr>
          <a:xfrm>
            <a:off x="3009948" y="3298445"/>
            <a:ext cx="5718000" cy="31931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solidFill>
              <a:schemeClr val="accent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9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ACEFBBE-DEFE-416C-B871-7549BC1CBDB5}"/>
              </a:ext>
            </a:extLst>
          </p:cNvPr>
          <p:cNvSpPr/>
          <p:nvPr/>
        </p:nvSpPr>
        <p:spPr>
          <a:xfrm>
            <a:off x="3009948" y="4163697"/>
            <a:ext cx="5718000" cy="50526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solidFill>
              <a:schemeClr val="accent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9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AAD327B7-307C-4111-8354-34958D1E859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6779"/>
            <a:ext cx="8311896" cy="54864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Across advanced industrial companies, AI used to drive ROIC improvements across the tree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DF58A226-6F26-43B5-9779-DB4526E7589C}"/>
              </a:ext>
            </a:extLst>
          </p:cNvPr>
          <p:cNvSpPr txBox="1">
            <a:spLocks/>
          </p:cNvSpPr>
          <p:nvPr/>
        </p:nvSpPr>
        <p:spPr>
          <a:xfrm>
            <a:off x="416052" y="2280349"/>
            <a:ext cx="474536" cy="5910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 dirty="0">
                <a:solidFill>
                  <a:srgbClr val="FFFFFF"/>
                </a:solidFill>
                <a:latin typeface="Arial"/>
              </a:rPr>
              <a:t>Profit-abilit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DED61B1-ED04-4F06-A6D8-181E474F4EF9}"/>
              </a:ext>
            </a:extLst>
          </p:cNvPr>
          <p:cNvCxnSpPr>
            <a:cxnSpLocks/>
            <a:stCxn id="135" idx="3"/>
            <a:endCxn id="138" idx="1"/>
          </p:cNvCxnSpPr>
          <p:nvPr/>
        </p:nvCxnSpPr>
        <p:spPr>
          <a:xfrm>
            <a:off x="890588" y="2575876"/>
            <a:ext cx="410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E5617D74-DF85-47E9-9F2A-CED589C365A9}"/>
              </a:ext>
            </a:extLst>
          </p:cNvPr>
          <p:cNvCxnSpPr>
            <a:cxnSpLocks/>
            <a:stCxn id="135" idx="3"/>
            <a:endCxn id="136" idx="1"/>
          </p:cNvCxnSpPr>
          <p:nvPr/>
        </p:nvCxnSpPr>
        <p:spPr>
          <a:xfrm flipV="1">
            <a:off x="890588" y="1511431"/>
            <a:ext cx="410576" cy="1064445"/>
          </a:xfrm>
          <a:prstGeom prst="bentConnector3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1F237BFE-A4E5-4F2A-B703-6A459261E9E9}"/>
              </a:ext>
            </a:extLst>
          </p:cNvPr>
          <p:cNvCxnSpPr>
            <a:cxnSpLocks/>
            <a:stCxn id="135" idx="3"/>
            <a:endCxn id="145" idx="1"/>
          </p:cNvCxnSpPr>
          <p:nvPr/>
        </p:nvCxnSpPr>
        <p:spPr>
          <a:xfrm>
            <a:off x="890588" y="2575876"/>
            <a:ext cx="410576" cy="1567487"/>
          </a:xfrm>
          <a:prstGeom prst="bentConnector3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9CBD8FFB-D992-4B82-A4F1-0A020272997A}"/>
              </a:ext>
            </a:extLst>
          </p:cNvPr>
          <p:cNvCxnSpPr>
            <a:cxnSpLocks/>
            <a:stCxn id="136" idx="3"/>
            <a:endCxn id="178" idx="1"/>
          </p:cNvCxnSpPr>
          <p:nvPr/>
        </p:nvCxnSpPr>
        <p:spPr>
          <a:xfrm flipV="1">
            <a:off x="1910323" y="1329160"/>
            <a:ext cx="410576" cy="182271"/>
          </a:xfrm>
          <a:prstGeom prst="bentConnector3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5E68D37A-1F1F-4463-8E39-BA395C4F81A8}"/>
              </a:ext>
            </a:extLst>
          </p:cNvPr>
          <p:cNvCxnSpPr>
            <a:cxnSpLocks/>
            <a:stCxn id="136" idx="3"/>
            <a:endCxn id="180" idx="1"/>
          </p:cNvCxnSpPr>
          <p:nvPr/>
        </p:nvCxnSpPr>
        <p:spPr>
          <a:xfrm>
            <a:off x="1910324" y="1511431"/>
            <a:ext cx="417269" cy="266111"/>
          </a:xfrm>
          <a:prstGeom prst="bentConnector3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C04D89D7-9FCD-4D2C-B775-F1553BF5FE43}"/>
              </a:ext>
            </a:extLst>
          </p:cNvPr>
          <p:cNvCxnSpPr>
            <a:cxnSpLocks/>
            <a:stCxn id="138" idx="3"/>
            <a:endCxn id="154" idx="1"/>
          </p:cNvCxnSpPr>
          <p:nvPr/>
        </p:nvCxnSpPr>
        <p:spPr>
          <a:xfrm flipV="1">
            <a:off x="1910323" y="2309765"/>
            <a:ext cx="410576" cy="266111"/>
          </a:xfrm>
          <a:prstGeom prst="bentConnector3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7BA178B1-7B57-4FE2-AD06-8EE9E045A3A8}"/>
              </a:ext>
            </a:extLst>
          </p:cNvPr>
          <p:cNvCxnSpPr>
            <a:cxnSpLocks/>
            <a:stCxn id="138" idx="3"/>
            <a:endCxn id="158" idx="1"/>
          </p:cNvCxnSpPr>
          <p:nvPr/>
        </p:nvCxnSpPr>
        <p:spPr>
          <a:xfrm>
            <a:off x="1910324" y="2575876"/>
            <a:ext cx="417269" cy="349952"/>
          </a:xfrm>
          <a:prstGeom prst="bentConnector3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F35E7CA9-DB62-4884-9FA7-59886C5D8BA7}"/>
              </a:ext>
            </a:extLst>
          </p:cNvPr>
          <p:cNvCxnSpPr>
            <a:cxnSpLocks/>
            <a:stCxn id="145" idx="3"/>
            <a:endCxn id="166" idx="1"/>
          </p:cNvCxnSpPr>
          <p:nvPr/>
        </p:nvCxnSpPr>
        <p:spPr>
          <a:xfrm flipV="1">
            <a:off x="1910323" y="3709570"/>
            <a:ext cx="410576" cy="433793"/>
          </a:xfrm>
          <a:prstGeom prst="bentConnector3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E6CD7DA3-A87A-4E72-8D94-C41AB3A663AE}"/>
              </a:ext>
            </a:extLst>
          </p:cNvPr>
          <p:cNvCxnSpPr>
            <a:cxnSpLocks/>
            <a:stCxn id="145" idx="3"/>
            <a:endCxn id="168" idx="1"/>
          </p:cNvCxnSpPr>
          <p:nvPr/>
        </p:nvCxnSpPr>
        <p:spPr>
          <a:xfrm>
            <a:off x="1910324" y="4143364"/>
            <a:ext cx="417269" cy="266108"/>
          </a:xfrm>
          <a:prstGeom prst="bentConnector3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>
            <a:extLst>
              <a:ext uri="{FF2B5EF4-FFF2-40B4-BE49-F238E27FC236}">
                <a16:creationId xmlns:a16="http://schemas.microsoft.com/office/drawing/2014/main" id="{AB8F698D-2E2B-4158-A615-83D335BA4A2F}"/>
              </a:ext>
            </a:extLst>
          </p:cNvPr>
          <p:cNvSpPr txBox="1">
            <a:spLocks/>
          </p:cNvSpPr>
          <p:nvPr/>
        </p:nvSpPr>
        <p:spPr>
          <a:xfrm>
            <a:off x="1301164" y="1215904"/>
            <a:ext cx="609160" cy="5910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 dirty="0">
                <a:solidFill>
                  <a:srgbClr val="FFFFFF"/>
                </a:solidFill>
                <a:latin typeface="Arial"/>
              </a:rPr>
              <a:t>Revenu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8B54536-1A48-48BA-85FF-C833A96C45F1}"/>
              </a:ext>
            </a:extLst>
          </p:cNvPr>
          <p:cNvSpPr txBox="1">
            <a:spLocks/>
          </p:cNvSpPr>
          <p:nvPr/>
        </p:nvSpPr>
        <p:spPr>
          <a:xfrm>
            <a:off x="1301164" y="2280349"/>
            <a:ext cx="609160" cy="5910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 dirty="0">
                <a:solidFill>
                  <a:srgbClr val="FFFFFF"/>
                </a:solidFill>
                <a:latin typeface="Arial"/>
              </a:rPr>
              <a:t>COGS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AFC2FFD5-812A-4F46-B255-C4AEA3280D22}"/>
              </a:ext>
            </a:extLst>
          </p:cNvPr>
          <p:cNvSpPr txBox="1">
            <a:spLocks/>
          </p:cNvSpPr>
          <p:nvPr/>
        </p:nvSpPr>
        <p:spPr>
          <a:xfrm>
            <a:off x="1301164" y="3847837"/>
            <a:ext cx="609160" cy="5910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 dirty="0" err="1">
                <a:solidFill>
                  <a:srgbClr val="FFFFFF"/>
                </a:solidFill>
                <a:latin typeface="Arial"/>
              </a:rPr>
              <a:t>Opex</a:t>
            </a:r>
            <a:endParaRPr lang="en-US" sz="900" b="1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8" name="MinusSignWhite 18">
            <a:extLst>
              <a:ext uri="{FF2B5EF4-FFF2-40B4-BE49-F238E27FC236}">
                <a16:creationId xmlns:a16="http://schemas.microsoft.com/office/drawing/2014/main" id="{341DBACF-692B-4925-AAF7-68445D6D096D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1531141" y="1969051"/>
            <a:ext cx="149204" cy="149204"/>
            <a:chOff x="1016000" y="1016000"/>
            <a:chExt cx="396228" cy="39622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A5B8007-DD61-4716-A22A-6790629C3706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</a:pPr>
              <a:endParaRPr lang="en-US" sz="900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3E052214-4190-423C-AA8A-45B37600C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=""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42" name="MinusSignWhite 18">
            <a:extLst>
              <a:ext uri="{FF2B5EF4-FFF2-40B4-BE49-F238E27FC236}">
                <a16:creationId xmlns:a16="http://schemas.microsoft.com/office/drawing/2014/main" id="{C03747FC-79C7-442B-B6B1-51714601C596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1531141" y="3285017"/>
            <a:ext cx="149204" cy="149204"/>
            <a:chOff x="1016000" y="1016000"/>
            <a:chExt cx="396228" cy="396228"/>
          </a:xfrm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552D7D65-62ED-4882-9B0F-E0C7DDE74E5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</a:pPr>
              <a:endParaRPr lang="en-US" sz="900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44" name="Graphic 143">
              <a:extLst>
                <a:ext uri="{FF2B5EF4-FFF2-40B4-BE49-F238E27FC236}">
                  <a16:creationId xmlns:a16="http://schemas.microsoft.com/office/drawing/2014/main" id="{8C69238E-27F0-43CD-8199-EE5A276B23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=""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68A3B68E-27CB-4623-9273-09B19C4ED5E9}"/>
              </a:ext>
            </a:extLst>
          </p:cNvPr>
          <p:cNvGrpSpPr/>
          <p:nvPr/>
        </p:nvGrpSpPr>
        <p:grpSpPr>
          <a:xfrm>
            <a:off x="2041009" y="1436829"/>
            <a:ext cx="149204" cy="2781136"/>
            <a:chOff x="2612250" y="1915771"/>
            <a:chExt cx="198938" cy="3708181"/>
          </a:xfrm>
        </p:grpSpPr>
        <p:grpSp>
          <p:nvGrpSpPr>
            <p:cNvPr id="162" name="PlusSignWhite 162">
              <a:extLst>
                <a:ext uri="{FF2B5EF4-FFF2-40B4-BE49-F238E27FC236}">
                  <a16:creationId xmlns:a16="http://schemas.microsoft.com/office/drawing/2014/main" id="{2EC988DE-B785-4743-897F-EE6AA4902CAD}"/>
                </a:ext>
              </a:extLst>
            </p:cNvPr>
            <p:cNvGrpSpPr>
              <a:grpSpLocks/>
            </p:cNvGrpSpPr>
            <p:nvPr>
              <p:custDataLst>
                <p:tags r:id="rId26"/>
              </p:custDataLst>
            </p:nvPr>
          </p:nvGrpSpPr>
          <p:grpSpPr>
            <a:xfrm>
              <a:off x="2612250" y="3335031"/>
              <a:ext cx="198938" cy="198938"/>
              <a:chOff x="1016000" y="1016000"/>
              <a:chExt cx="396228" cy="396228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DEA3C8E8-D633-43A8-8842-ACE198AD99F5}"/>
                  </a:ext>
                </a:extLst>
              </p:cNvPr>
              <p:cNvSpPr/>
              <p:nvPr/>
            </p:nvSpPr>
            <p:spPr>
              <a:xfrm>
                <a:off x="1016000" y="1016000"/>
                <a:ext cx="396228" cy="396228"/>
              </a:xfrm>
              <a:prstGeom prst="ellipse">
                <a:avLst/>
              </a:prstGeom>
              <a:solidFill>
                <a:schemeClr val="bg1"/>
              </a:solidFill>
              <a:ln w="635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spcBef>
                    <a:spcPts val="225"/>
                  </a:spcBef>
                  <a:spcAft>
                    <a:spcPts val="225"/>
                  </a:spcAft>
                </a:pPr>
                <a:endParaRPr lang="en-US" sz="1200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161" name="Graphic 160">
                <a:extLst>
                  <a:ext uri="{FF2B5EF4-FFF2-40B4-BE49-F238E27FC236}">
                    <a16:creationId xmlns:a16="http://schemas.microsoft.com/office/drawing/2014/main" id="{B0AC0D89-2700-466A-97E3-E66341C7E1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>
                <a:extLst>
                  <a:ext uri="{96DAC541-7B7A-43D3-8B79-37D633B846F1}">
                    <asvg:svgBlip xmlns="" xmlns:asvg="http://schemas.microsoft.com/office/drawing/2016/SVG/main" r:embed="rId36"/>
                  </a:ext>
                </a:extLst>
              </a:blip>
              <a:stretch>
                <a:fillRect/>
              </a:stretch>
            </p:blipFill>
            <p:spPr>
              <a:xfrm>
                <a:off x="1023614" y="1023614"/>
                <a:ext cx="381000" cy="381000"/>
              </a:xfrm>
              <a:prstGeom prst="rect">
                <a:avLst/>
              </a:prstGeom>
            </p:spPr>
          </p:pic>
        </p:grpSp>
        <p:grpSp>
          <p:nvGrpSpPr>
            <p:cNvPr id="169" name="PlusSignWhite 162">
              <a:extLst>
                <a:ext uri="{FF2B5EF4-FFF2-40B4-BE49-F238E27FC236}">
                  <a16:creationId xmlns:a16="http://schemas.microsoft.com/office/drawing/2014/main" id="{28777C22-07DD-4892-92E6-FB87CA8F2E21}"/>
                </a:ext>
              </a:extLst>
            </p:cNvPr>
            <p:cNvGrpSpPr>
              <a:grpSpLocks/>
            </p:cNvGrpSpPr>
            <p:nvPr>
              <p:custDataLst>
                <p:tags r:id="rId27"/>
              </p:custDataLst>
            </p:nvPr>
          </p:nvGrpSpPr>
          <p:grpSpPr>
            <a:xfrm>
              <a:off x="2612250" y="5425014"/>
              <a:ext cx="198938" cy="198938"/>
              <a:chOff x="1016000" y="1016000"/>
              <a:chExt cx="396228" cy="396228"/>
            </a:xfrm>
          </p:grpSpPr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FEFB1668-EC21-4B2F-B854-B47536F96B9E}"/>
                  </a:ext>
                </a:extLst>
              </p:cNvPr>
              <p:cNvSpPr/>
              <p:nvPr/>
            </p:nvSpPr>
            <p:spPr>
              <a:xfrm>
                <a:off x="1016000" y="1016000"/>
                <a:ext cx="396228" cy="396228"/>
              </a:xfrm>
              <a:prstGeom prst="ellipse">
                <a:avLst/>
              </a:prstGeom>
              <a:solidFill>
                <a:schemeClr val="bg1"/>
              </a:solidFill>
              <a:ln w="635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spcBef>
                    <a:spcPts val="225"/>
                  </a:spcBef>
                  <a:spcAft>
                    <a:spcPts val="225"/>
                  </a:spcAft>
                </a:pPr>
                <a:endParaRPr lang="en-US" sz="1200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171" name="Graphic 170">
                <a:extLst>
                  <a:ext uri="{FF2B5EF4-FFF2-40B4-BE49-F238E27FC236}">
                    <a16:creationId xmlns:a16="http://schemas.microsoft.com/office/drawing/2014/main" id="{C17445F4-AE44-415F-8C96-86E829B3FC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>
                <a:extLst>
                  <a:ext uri="{96DAC541-7B7A-43D3-8B79-37D633B846F1}">
                    <asvg:svgBlip xmlns="" xmlns:asvg="http://schemas.microsoft.com/office/drawing/2016/SVG/main" r:embed="rId36"/>
                  </a:ext>
                </a:extLst>
              </a:blip>
              <a:stretch>
                <a:fillRect/>
              </a:stretch>
            </p:blipFill>
            <p:spPr>
              <a:xfrm>
                <a:off x="1023614" y="1023614"/>
                <a:ext cx="381000" cy="381000"/>
              </a:xfrm>
              <a:prstGeom prst="rect">
                <a:avLst/>
              </a:prstGeom>
            </p:spPr>
          </p:pic>
        </p:grpSp>
        <p:grpSp>
          <p:nvGrpSpPr>
            <p:cNvPr id="200" name="XWhite 200">
              <a:extLst>
                <a:ext uri="{FF2B5EF4-FFF2-40B4-BE49-F238E27FC236}">
                  <a16:creationId xmlns:a16="http://schemas.microsoft.com/office/drawing/2014/main" id="{A6EE47AA-C934-4D09-B57B-34C88AF40464}"/>
                </a:ext>
              </a:extLst>
            </p:cNvPr>
            <p:cNvGrpSpPr>
              <a:grpSpLocks/>
            </p:cNvGrpSpPr>
            <p:nvPr>
              <p:custDataLst>
                <p:tags r:id="rId28"/>
              </p:custDataLst>
            </p:nvPr>
          </p:nvGrpSpPr>
          <p:grpSpPr>
            <a:xfrm>
              <a:off x="2612250" y="1915771"/>
              <a:ext cx="198938" cy="198938"/>
              <a:chOff x="1016000" y="1016000"/>
              <a:chExt cx="396228" cy="396228"/>
            </a:xfrm>
          </p:grpSpPr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C113949E-44E1-44E7-A419-EB95421D94D3}"/>
                  </a:ext>
                </a:extLst>
              </p:cNvPr>
              <p:cNvSpPr/>
              <p:nvPr/>
            </p:nvSpPr>
            <p:spPr>
              <a:xfrm>
                <a:off x="1016000" y="1016000"/>
                <a:ext cx="396228" cy="396228"/>
              </a:xfrm>
              <a:prstGeom prst="ellipse">
                <a:avLst/>
              </a:prstGeom>
              <a:solidFill>
                <a:schemeClr val="bg1"/>
              </a:solidFill>
              <a:ln w="6350" cap="sq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spcBef>
                    <a:spcPts val="225"/>
                  </a:spcBef>
                  <a:spcAft>
                    <a:spcPts val="225"/>
                  </a:spcAft>
                </a:pPr>
                <a:endParaRPr lang="en-US" sz="1200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199" name="Graphic 198">
                <a:extLst>
                  <a:ext uri="{FF2B5EF4-FFF2-40B4-BE49-F238E27FC236}">
                    <a16:creationId xmlns:a16="http://schemas.microsoft.com/office/drawing/2014/main" id="{FAA0091A-BD26-4DF2-B0BC-514C6913E4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7">
                <a:extLst>
                  <a:ext uri="{96DAC541-7B7A-43D3-8B79-37D633B846F1}">
                    <asvg:svgBlip xmlns="" xmlns:asvg="http://schemas.microsoft.com/office/drawing/2016/SVG/main" r:embed="rId38"/>
                  </a:ext>
                </a:extLst>
              </a:blip>
              <a:stretch>
                <a:fillRect/>
              </a:stretch>
            </p:blipFill>
            <p:spPr>
              <a:xfrm>
                <a:off x="1023614" y="1023614"/>
                <a:ext cx="381000" cy="381000"/>
              </a:xfrm>
              <a:prstGeom prst="rect">
                <a:avLst/>
              </a:prstGeom>
            </p:spPr>
          </p:pic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10250BE-8CA8-44EB-B38A-A9446241C686}"/>
              </a:ext>
            </a:extLst>
          </p:cNvPr>
          <p:cNvGrpSpPr/>
          <p:nvPr/>
        </p:nvGrpSpPr>
        <p:grpSpPr>
          <a:xfrm>
            <a:off x="1021274" y="2501273"/>
            <a:ext cx="149204" cy="149204"/>
            <a:chOff x="1736119" y="3661448"/>
            <a:chExt cx="396000" cy="396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E31AD70-7579-4E0A-BB19-C26F15CB8863}"/>
                </a:ext>
              </a:extLst>
            </p:cNvPr>
            <p:cNvSpPr/>
            <p:nvPr/>
          </p:nvSpPr>
          <p:spPr>
            <a:xfrm>
              <a:off x="1736119" y="3661448"/>
              <a:ext cx="396000" cy="396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</a:pPr>
              <a:endParaRPr lang="en-US" sz="900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39" name="Graphic 138">
              <a:extLst>
                <a:ext uri="{FF2B5EF4-FFF2-40B4-BE49-F238E27FC236}">
                  <a16:creationId xmlns:a16="http://schemas.microsoft.com/office/drawing/2014/main" id="{7DDF2848-334E-408D-8605-DE43A751B5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96DAC541-7B7A-43D3-8B79-37D633B846F1}">
                  <asvg:svgBlip xmlns=""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1743729" y="3669058"/>
              <a:ext cx="380781" cy="380781"/>
            </a:xfrm>
            <a:prstGeom prst="rect">
              <a:avLst/>
            </a:prstGeom>
          </p:spPr>
        </p:pic>
      </p:grpSp>
      <p:grpSp>
        <p:nvGrpSpPr>
          <p:cNvPr id="52" name="sticker">
            <a:extLst>
              <a:ext uri="{FF2B5EF4-FFF2-40B4-BE49-F238E27FC236}">
                <a16:creationId xmlns:a16="http://schemas.microsoft.com/office/drawing/2014/main" id="{ABDE8EA5-1CF0-4BA7-9F66-99D57EC68750}"/>
              </a:ext>
            </a:extLst>
          </p:cNvPr>
          <p:cNvGrpSpPr/>
          <p:nvPr/>
        </p:nvGrpSpPr>
        <p:grpSpPr>
          <a:xfrm>
            <a:off x="418645" y="966955"/>
            <a:ext cx="1242520" cy="117725"/>
            <a:chOff x="558192" y="1289273"/>
            <a:chExt cx="1656694" cy="156966"/>
          </a:xfrm>
        </p:grpSpPr>
        <p:sp>
          <p:nvSpPr>
            <p:cNvPr id="90" name="StickerRectangle">
              <a:extLst>
                <a:ext uri="{FF2B5EF4-FFF2-40B4-BE49-F238E27FC236}">
                  <a16:creationId xmlns:a16="http://schemas.microsoft.com/office/drawing/2014/main" id="{85BA337F-46D9-4B3A-832F-5CC582569F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58192" y="1289273"/>
              <a:ext cx="1656694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3716" anchor="t" anchorCtr="0">
              <a:spAutoFit/>
            </a:bodyPr>
            <a:lstStyle/>
            <a:p>
              <a:pPr defTabSz="895395">
                <a:buClr>
                  <a:srgbClr val="FFFFFF"/>
                </a:buClr>
              </a:pPr>
              <a:r>
                <a:rPr lang="en-US" sz="675" b="1" spc="38">
                  <a:ln w="3175">
                    <a:noFill/>
                  </a:ln>
                  <a:solidFill>
                    <a:srgbClr val="000000"/>
                  </a:solidFill>
                  <a:latin typeface="Arial"/>
                </a:rPr>
                <a:t>Illustrative, Not Exhaustive</a:t>
              </a:r>
              <a:endParaRPr lang="en-US" sz="600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91" name="StickerUnderline">
              <a:extLst>
                <a:ext uri="{FF2B5EF4-FFF2-40B4-BE49-F238E27FC236}">
                  <a16:creationId xmlns:a16="http://schemas.microsoft.com/office/drawing/2014/main" id="{CBADE4D3-0FF9-4504-A071-2692BDB79131}"/>
                </a:ext>
              </a:extLst>
            </p:cNvPr>
            <p:cNvCxnSpPr>
              <a:cxnSpLocks noChangeShapeType="1"/>
              <a:stCxn id="90" idx="4"/>
              <a:endCxn id="90" idx="6"/>
            </p:cNvCxnSpPr>
            <p:nvPr/>
          </p:nvCxnSpPr>
          <p:spPr bwMode="gray">
            <a:xfrm>
              <a:off x="558192" y="1446239"/>
              <a:ext cx="1654299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54" name="TextBox 153">
            <a:extLst>
              <a:ext uri="{FF2B5EF4-FFF2-40B4-BE49-F238E27FC236}">
                <a16:creationId xmlns:a16="http://schemas.microsoft.com/office/drawing/2014/main" id="{FF9E2273-6994-4AB4-AA4D-50824A5F3BBC}"/>
              </a:ext>
            </a:extLst>
          </p:cNvPr>
          <p:cNvSpPr txBox="1">
            <a:spLocks/>
          </p:cNvSpPr>
          <p:nvPr/>
        </p:nvSpPr>
        <p:spPr>
          <a:xfrm>
            <a:off x="2320900" y="2072834"/>
            <a:ext cx="643256" cy="4738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 dirty="0">
                <a:solidFill>
                  <a:srgbClr val="FFFFFF"/>
                </a:solidFill>
                <a:latin typeface="Arial"/>
              </a:rPr>
              <a:t>Pro-</a:t>
            </a:r>
            <a:br>
              <a:rPr lang="en-US" sz="900" b="1" dirty="0">
                <a:solidFill>
                  <a:srgbClr val="FFFFFF"/>
                </a:solidFill>
                <a:latin typeface="Arial"/>
              </a:rPr>
            </a:br>
            <a:r>
              <a:rPr lang="en-US" sz="900" b="1" dirty="0" err="1">
                <a:solidFill>
                  <a:srgbClr val="FFFFFF"/>
                </a:solidFill>
                <a:latin typeface="Arial"/>
              </a:rPr>
              <a:t>curement</a:t>
            </a:r>
            <a:endParaRPr lang="en-US" sz="9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996A6E18-D822-4D1B-88FF-B5D9C5CCB270}"/>
              </a:ext>
            </a:extLst>
          </p:cNvPr>
          <p:cNvSpPr txBox="1">
            <a:spLocks/>
          </p:cNvSpPr>
          <p:nvPr/>
        </p:nvSpPr>
        <p:spPr>
          <a:xfrm>
            <a:off x="2327593" y="2605057"/>
            <a:ext cx="643256" cy="6415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 dirty="0">
                <a:solidFill>
                  <a:srgbClr val="FFFFFF"/>
                </a:solidFill>
                <a:latin typeface="Arial"/>
              </a:rPr>
              <a:t>Manu-</a:t>
            </a:r>
            <a:r>
              <a:rPr lang="en-US" sz="900" b="1" dirty="0" err="1">
                <a:solidFill>
                  <a:srgbClr val="FFFFFF"/>
                </a:solidFill>
                <a:latin typeface="Arial"/>
              </a:rPr>
              <a:t>facturing</a:t>
            </a:r>
            <a:endParaRPr lang="en-US" sz="9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90101B34-CF2D-4B29-9D27-56A4EC735965}"/>
              </a:ext>
            </a:extLst>
          </p:cNvPr>
          <p:cNvSpPr txBox="1">
            <a:spLocks/>
          </p:cNvSpPr>
          <p:nvPr/>
        </p:nvSpPr>
        <p:spPr>
          <a:xfrm>
            <a:off x="2320900" y="1176070"/>
            <a:ext cx="643256" cy="306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 dirty="0">
                <a:solidFill>
                  <a:srgbClr val="FFFFFF"/>
                </a:solidFill>
                <a:latin typeface="Arial"/>
              </a:rPr>
              <a:t>Pricing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0D72F51-2FA7-46CD-9E87-C1DA5F011BC0}"/>
              </a:ext>
            </a:extLst>
          </p:cNvPr>
          <p:cNvSpPr txBox="1">
            <a:spLocks/>
          </p:cNvSpPr>
          <p:nvPr/>
        </p:nvSpPr>
        <p:spPr>
          <a:xfrm>
            <a:off x="2327593" y="1540612"/>
            <a:ext cx="643256" cy="4738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 dirty="0">
                <a:solidFill>
                  <a:srgbClr val="FFFFFF"/>
                </a:solidFill>
                <a:latin typeface="Arial"/>
              </a:rPr>
              <a:t>Volume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802DCA60-96BF-46FC-9B17-490BD5BA55D6}"/>
              </a:ext>
            </a:extLst>
          </p:cNvPr>
          <p:cNvSpPr txBox="1">
            <a:spLocks/>
          </p:cNvSpPr>
          <p:nvPr/>
        </p:nvSpPr>
        <p:spPr>
          <a:xfrm>
            <a:off x="2320900" y="3304960"/>
            <a:ext cx="643256" cy="8092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 dirty="0">
                <a:solidFill>
                  <a:srgbClr val="FFFFFF"/>
                </a:solidFill>
                <a:latin typeface="Arial"/>
              </a:rPr>
              <a:t>R&amp;D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B1E350AF-2113-4496-A8A9-550751545A41}"/>
              </a:ext>
            </a:extLst>
          </p:cNvPr>
          <p:cNvSpPr txBox="1">
            <a:spLocks/>
          </p:cNvSpPr>
          <p:nvPr/>
        </p:nvSpPr>
        <p:spPr>
          <a:xfrm>
            <a:off x="2327593" y="4172544"/>
            <a:ext cx="643256" cy="473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57150" tIns="57150" rIns="57150" bIns="5715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</a:pPr>
            <a:r>
              <a:rPr lang="en-US" sz="900" b="1">
                <a:solidFill>
                  <a:srgbClr val="FFFFFF"/>
                </a:solidFill>
                <a:latin typeface="Arial"/>
              </a:rPr>
              <a:t>G</a:t>
            </a:r>
            <a:r>
              <a:rPr lang="en-US" sz="900" b="1" dirty="0">
                <a:solidFill>
                  <a:srgbClr val="FFFFFF"/>
                </a:solidFill>
                <a:latin typeface="Arial"/>
              </a:rPr>
              <a:t>&amp;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C16F05-371A-41B2-A014-36E282A6EEF0}"/>
              </a:ext>
            </a:extLst>
          </p:cNvPr>
          <p:cNvSpPr txBox="1"/>
          <p:nvPr/>
        </p:nvSpPr>
        <p:spPr>
          <a:xfrm>
            <a:off x="7971732" y="974691"/>
            <a:ext cx="753411" cy="11541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buNone/>
            </a:pPr>
            <a:r>
              <a:rPr lang="en-US" sz="750" dirty="0">
                <a:solidFill>
                  <a:srgbClr val="000000"/>
                </a:solidFill>
                <a:latin typeface="Arial"/>
              </a:rPr>
              <a:t>Deep-dive follows</a:t>
            </a:r>
          </a:p>
        </p:txBody>
      </p:sp>
      <p:sp>
        <p:nvSpPr>
          <p:cNvPr id="79" name="TrackerNumBlue 202">
            <a:extLst>
              <a:ext uri="{FF2B5EF4-FFF2-40B4-BE49-F238E27FC236}">
                <a16:creationId xmlns:a16="http://schemas.microsoft.com/office/drawing/2014/main" id="{124519AE-FFBD-445E-8833-F883BC422AB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3063137" y="4172543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8</a:t>
            </a:r>
          </a:p>
        </p:txBody>
      </p:sp>
      <p:sp>
        <p:nvSpPr>
          <p:cNvPr id="80" name="TrackerNumBlue 202">
            <a:extLst>
              <a:ext uri="{FF2B5EF4-FFF2-40B4-BE49-F238E27FC236}">
                <a16:creationId xmlns:a16="http://schemas.microsoft.com/office/drawing/2014/main" id="{F58E93BF-D3A1-4BF0-93A3-E777D1FFEEF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3063137" y="4340224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9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BD1EEE7-A1EF-4623-8950-AEFC910EC158}"/>
              </a:ext>
            </a:extLst>
          </p:cNvPr>
          <p:cNvSpPr txBox="1"/>
          <p:nvPr/>
        </p:nvSpPr>
        <p:spPr>
          <a:xfrm>
            <a:off x="3239397" y="4340224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b="1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RPA for repetitive tasks to reduce errors, speed up insights (e.g., forecasting)</a:t>
            </a:r>
          </a:p>
        </p:txBody>
      </p:sp>
      <p:sp>
        <p:nvSpPr>
          <p:cNvPr id="81" name="TrackerNumBlue 202">
            <a:extLst>
              <a:ext uri="{FF2B5EF4-FFF2-40B4-BE49-F238E27FC236}">
                <a16:creationId xmlns:a16="http://schemas.microsoft.com/office/drawing/2014/main" id="{A957F55F-FA87-4F5C-B91D-588E45673329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3063137" y="4507899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D33FF9-58D1-4C94-A69E-5AD1C1AFF4C1}"/>
              </a:ext>
            </a:extLst>
          </p:cNvPr>
          <p:cNvSpPr txBox="1"/>
          <p:nvPr/>
        </p:nvSpPr>
        <p:spPr>
          <a:xfrm>
            <a:off x="3239397" y="4172544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b="1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AR optimization through invoice-level recommendation engine for collec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3187C1A-6BBD-4958-87C1-CB318950A438}"/>
              </a:ext>
            </a:extLst>
          </p:cNvPr>
          <p:cNvSpPr txBox="1"/>
          <p:nvPr/>
        </p:nvSpPr>
        <p:spPr>
          <a:xfrm>
            <a:off x="3239397" y="4507900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b="1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Process mining to reduce overhead in finance, order processing</a:t>
            </a:r>
          </a:p>
        </p:txBody>
      </p:sp>
      <p:sp>
        <p:nvSpPr>
          <p:cNvPr id="62" name="TrackerNumBlue 202">
            <a:extLst>
              <a:ext uri="{FF2B5EF4-FFF2-40B4-BE49-F238E27FC236}">
                <a16:creationId xmlns:a16="http://schemas.microsoft.com/office/drawing/2014/main" id="{3B1F36FB-CC98-447A-9FBA-D5C6B70DA46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3063137" y="1176070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63" name="TrackerNumBlue 202">
            <a:extLst>
              <a:ext uri="{FF2B5EF4-FFF2-40B4-BE49-F238E27FC236}">
                <a16:creationId xmlns:a16="http://schemas.microsoft.com/office/drawing/2014/main" id="{E587D3AE-B3EF-44C8-825D-E8B49D4FD62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3063137" y="1343750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691DF8-5E7D-4B17-89EE-F6D4B5FE1223}"/>
              </a:ext>
            </a:extLst>
          </p:cNvPr>
          <p:cNvSpPr txBox="1">
            <a:spLocks/>
          </p:cNvSpPr>
          <p:nvPr/>
        </p:nvSpPr>
        <p:spPr>
          <a:xfrm>
            <a:off x="3239397" y="1176070"/>
            <a:ext cx="5488552" cy="1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Self-learning pricing algorithm to dynamically optimize pri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8DD8B1-A2EF-4C1B-B057-E76F94E6C5B9}"/>
              </a:ext>
            </a:extLst>
          </p:cNvPr>
          <p:cNvSpPr txBox="1"/>
          <p:nvPr/>
        </p:nvSpPr>
        <p:spPr>
          <a:xfrm>
            <a:off x="3239397" y="1343751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ML-based predictive models to assess future demand-supply balance for pricing/ allocation </a:t>
            </a:r>
          </a:p>
        </p:txBody>
      </p:sp>
      <p:sp>
        <p:nvSpPr>
          <p:cNvPr id="64" name="TrackerNumBlue 202">
            <a:extLst>
              <a:ext uri="{FF2B5EF4-FFF2-40B4-BE49-F238E27FC236}">
                <a16:creationId xmlns:a16="http://schemas.microsoft.com/office/drawing/2014/main" id="{AB79992A-11E2-4266-BFFD-663F30965C81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3063137" y="1540612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sp>
        <p:nvSpPr>
          <p:cNvPr id="66" name="TrackerNumBlue 202">
            <a:extLst>
              <a:ext uri="{FF2B5EF4-FFF2-40B4-BE49-F238E27FC236}">
                <a16:creationId xmlns:a16="http://schemas.microsoft.com/office/drawing/2014/main" id="{9B5585D9-2F8C-42B4-ACD5-42B57CB77919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3063137" y="1708292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F7070ED-BE5B-46F3-8CD4-57F483A0C25D}"/>
              </a:ext>
            </a:extLst>
          </p:cNvPr>
          <p:cNvSpPr txBox="1"/>
          <p:nvPr/>
        </p:nvSpPr>
        <p:spPr>
          <a:xfrm>
            <a:off x="3239397" y="1708293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Sales war room for analytics-based steering of sales performance</a:t>
            </a:r>
          </a:p>
        </p:txBody>
      </p:sp>
      <p:sp>
        <p:nvSpPr>
          <p:cNvPr id="67" name="TrackerNumBlue 202">
            <a:extLst>
              <a:ext uri="{FF2B5EF4-FFF2-40B4-BE49-F238E27FC236}">
                <a16:creationId xmlns:a16="http://schemas.microsoft.com/office/drawing/2014/main" id="{1306AE18-C00D-49DC-B43D-EC0B2236EED5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3063137" y="1875973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7C4603-2852-4EDC-8170-BAA965099354}"/>
              </a:ext>
            </a:extLst>
          </p:cNvPr>
          <p:cNvSpPr txBox="1"/>
          <p:nvPr/>
        </p:nvSpPr>
        <p:spPr>
          <a:xfrm>
            <a:off x="3239397" y="1540612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b="1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Lead management to prescribe sales approach, campaign for each custom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676608-ED18-4F94-A860-C7080FF97AB7}"/>
              </a:ext>
            </a:extLst>
          </p:cNvPr>
          <p:cNvSpPr txBox="1"/>
          <p:nvPr/>
        </p:nvSpPr>
        <p:spPr>
          <a:xfrm>
            <a:off x="3239397" y="1875973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Expanding TAM from products to solutions with AI / analytics-driven value-added product/ services</a:t>
            </a:r>
          </a:p>
        </p:txBody>
      </p:sp>
      <p:sp>
        <p:nvSpPr>
          <p:cNvPr id="61" name="TrackerNumBlue 202">
            <a:extLst>
              <a:ext uri="{FF2B5EF4-FFF2-40B4-BE49-F238E27FC236}">
                <a16:creationId xmlns:a16="http://schemas.microsoft.com/office/drawing/2014/main" id="{ACC65CC0-C4C7-474C-BCD2-5B7F41B1618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3063137" y="2072834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6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057B4BC-9659-4CF6-9EFA-797A085D8006}"/>
              </a:ext>
            </a:extLst>
          </p:cNvPr>
          <p:cNvSpPr txBox="1"/>
          <p:nvPr/>
        </p:nvSpPr>
        <p:spPr>
          <a:xfrm>
            <a:off x="3239397" y="2072835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b="1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Supply-chain optimization by reduce forecasting errors, enable lower inventory levels</a:t>
            </a:r>
          </a:p>
        </p:txBody>
      </p:sp>
      <p:sp>
        <p:nvSpPr>
          <p:cNvPr id="68" name="TrackerNumBlue 202">
            <a:extLst>
              <a:ext uri="{FF2B5EF4-FFF2-40B4-BE49-F238E27FC236}">
                <a16:creationId xmlns:a16="http://schemas.microsoft.com/office/drawing/2014/main" id="{88EE9107-3011-4F05-B294-07BD009B223B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3063137" y="2240515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7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5062EFE-7360-4113-8481-A1089558F89A}"/>
              </a:ext>
            </a:extLst>
          </p:cNvPr>
          <p:cNvSpPr txBox="1"/>
          <p:nvPr/>
        </p:nvSpPr>
        <p:spPr>
          <a:xfrm>
            <a:off x="3239397" y="2240515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 err="1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eRFx</a:t>
            </a: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 with automated analytics to enable large-scale market testing</a:t>
            </a:r>
          </a:p>
        </p:txBody>
      </p:sp>
      <p:sp>
        <p:nvSpPr>
          <p:cNvPr id="69" name="TrackerNumBlue 202">
            <a:extLst>
              <a:ext uri="{FF2B5EF4-FFF2-40B4-BE49-F238E27FC236}">
                <a16:creationId xmlns:a16="http://schemas.microsoft.com/office/drawing/2014/main" id="{29A9D0B7-4716-4E1B-A20C-ABA7E357359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3063137" y="2408195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8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562A7AD-92EA-44DA-81D7-E3B679FA616C}"/>
              </a:ext>
            </a:extLst>
          </p:cNvPr>
          <p:cNvSpPr txBox="1"/>
          <p:nvPr/>
        </p:nvSpPr>
        <p:spPr>
          <a:xfrm>
            <a:off x="3239397" y="2408196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Category-specific levers to dynamically quantify, visualize performance, savings opportunity</a:t>
            </a:r>
          </a:p>
        </p:txBody>
      </p:sp>
      <p:sp>
        <p:nvSpPr>
          <p:cNvPr id="70" name="TrackerNumBlue 202">
            <a:extLst>
              <a:ext uri="{FF2B5EF4-FFF2-40B4-BE49-F238E27FC236}">
                <a16:creationId xmlns:a16="http://schemas.microsoft.com/office/drawing/2014/main" id="{B00F7508-4A08-40EF-9CF5-F7D2055350C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3063137" y="2605057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9</a:t>
            </a:r>
          </a:p>
        </p:txBody>
      </p:sp>
      <p:sp>
        <p:nvSpPr>
          <p:cNvPr id="71" name="TrackerNumBlue 202">
            <a:extLst>
              <a:ext uri="{FF2B5EF4-FFF2-40B4-BE49-F238E27FC236}">
                <a16:creationId xmlns:a16="http://schemas.microsoft.com/office/drawing/2014/main" id="{95B67906-D6D3-4C15-8609-3D447027972D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3063137" y="2772737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989FCA3-DDC4-4B11-A259-435FA453345C}"/>
              </a:ext>
            </a:extLst>
          </p:cNvPr>
          <p:cNvSpPr txBox="1"/>
          <p:nvPr/>
        </p:nvSpPr>
        <p:spPr>
          <a:xfrm>
            <a:off x="3239397" y="2772738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Process automation in manufacturing line (e.g., OCR for wafer tracking, fab automation)</a:t>
            </a:r>
          </a:p>
        </p:txBody>
      </p:sp>
      <p:sp>
        <p:nvSpPr>
          <p:cNvPr id="72" name="TrackerNumBlue 202">
            <a:extLst>
              <a:ext uri="{FF2B5EF4-FFF2-40B4-BE49-F238E27FC236}">
                <a16:creationId xmlns:a16="http://schemas.microsoft.com/office/drawing/2014/main" id="{33ADFAAC-2E99-46DC-AEBB-4CA32A3F0A3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3063137" y="2940418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5D5519B-89A7-4D6C-8B69-504A88F51555}"/>
              </a:ext>
            </a:extLst>
          </p:cNvPr>
          <p:cNvSpPr txBox="1"/>
          <p:nvPr/>
        </p:nvSpPr>
        <p:spPr>
          <a:xfrm>
            <a:off x="3239397" y="2940418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Automated in-line inspection / metrology (e.g. defect detection + classification) with image recognition</a:t>
            </a:r>
          </a:p>
        </p:txBody>
      </p:sp>
      <p:sp>
        <p:nvSpPr>
          <p:cNvPr id="73" name="TrackerNumBlue 202">
            <a:extLst>
              <a:ext uri="{FF2B5EF4-FFF2-40B4-BE49-F238E27FC236}">
                <a16:creationId xmlns:a16="http://schemas.microsoft.com/office/drawing/2014/main" id="{460FAB68-A4E9-4D91-A08A-F65DA4646964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3063137" y="3108098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2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729FFFF-3283-4705-896D-138B85F057A4}"/>
              </a:ext>
            </a:extLst>
          </p:cNvPr>
          <p:cNvSpPr txBox="1"/>
          <p:nvPr/>
        </p:nvSpPr>
        <p:spPr>
          <a:xfrm>
            <a:off x="3239397" y="2605057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b="1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Advanced analytics for yield management in a semiconductor fab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8FF0A03-A93A-47E4-9DDF-37F16D22B113}"/>
              </a:ext>
            </a:extLst>
          </p:cNvPr>
          <p:cNvSpPr txBox="1"/>
          <p:nvPr/>
        </p:nvSpPr>
        <p:spPr>
          <a:xfrm>
            <a:off x="3239397" y="3108099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Predict failure modes + predictive maintenance (e.g., bearing changes) to improve fab uptime</a:t>
            </a:r>
          </a:p>
        </p:txBody>
      </p:sp>
      <p:sp>
        <p:nvSpPr>
          <p:cNvPr id="74" name="TrackerNumBlue 202">
            <a:extLst>
              <a:ext uri="{FF2B5EF4-FFF2-40B4-BE49-F238E27FC236}">
                <a16:creationId xmlns:a16="http://schemas.microsoft.com/office/drawing/2014/main" id="{0FC7DC6F-01A9-4169-AF27-3D5BFC45E78D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>
          <a:xfrm>
            <a:off x="3063137" y="3304960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3</a:t>
            </a:r>
          </a:p>
        </p:txBody>
      </p:sp>
      <p:sp>
        <p:nvSpPr>
          <p:cNvPr id="75" name="TrackerNumBlue 202">
            <a:extLst>
              <a:ext uri="{FF2B5EF4-FFF2-40B4-BE49-F238E27FC236}">
                <a16:creationId xmlns:a16="http://schemas.microsoft.com/office/drawing/2014/main" id="{8D4190B8-F484-4417-9510-CD231A212B58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>
          <a:xfrm>
            <a:off x="3063137" y="3472640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4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580F607-7DAA-45BD-B94C-327CEC987D42}"/>
              </a:ext>
            </a:extLst>
          </p:cNvPr>
          <p:cNvSpPr txBox="1"/>
          <p:nvPr/>
        </p:nvSpPr>
        <p:spPr>
          <a:xfrm>
            <a:off x="3239397" y="3446292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b="1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Analyzing and improving effectiveness of R&amp;D investments</a:t>
            </a:r>
          </a:p>
        </p:txBody>
      </p:sp>
      <p:sp>
        <p:nvSpPr>
          <p:cNvPr id="76" name="TrackerNumBlue 202">
            <a:extLst>
              <a:ext uri="{FF2B5EF4-FFF2-40B4-BE49-F238E27FC236}">
                <a16:creationId xmlns:a16="http://schemas.microsoft.com/office/drawing/2014/main" id="{C9F7EFD2-7B59-49D4-97FE-33BEEDDA524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>
          <a:xfrm>
            <a:off x="3063137" y="3640321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5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AD83E2A-B775-4021-9912-FE5E7461B7C7}"/>
              </a:ext>
            </a:extLst>
          </p:cNvPr>
          <p:cNvSpPr txBox="1"/>
          <p:nvPr/>
        </p:nvSpPr>
        <p:spPr>
          <a:xfrm>
            <a:off x="3239397" y="3640321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Learning-based </a:t>
            </a:r>
            <a:r>
              <a:rPr lang="en-US" sz="900" dirty="0" err="1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DfX</a:t>
            </a: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 (e.g., design for manufacture / test / value / yield)</a:t>
            </a:r>
          </a:p>
        </p:txBody>
      </p:sp>
      <p:sp>
        <p:nvSpPr>
          <p:cNvPr id="77" name="TrackerNumBlue 202">
            <a:extLst>
              <a:ext uri="{FF2B5EF4-FFF2-40B4-BE49-F238E27FC236}">
                <a16:creationId xmlns:a16="http://schemas.microsoft.com/office/drawing/2014/main" id="{1D6F913B-6902-4E0F-AE3F-DCB5C2CB830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>
          <a:xfrm>
            <a:off x="3063137" y="3808001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6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CF1D80D-FA1F-453F-9AAE-79E338DA67D9}"/>
              </a:ext>
            </a:extLst>
          </p:cNvPr>
          <p:cNvSpPr txBox="1"/>
          <p:nvPr/>
        </p:nvSpPr>
        <p:spPr>
          <a:xfrm>
            <a:off x="3239397" y="3808002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AI-based circuit design services based around vendor products</a:t>
            </a:r>
          </a:p>
        </p:txBody>
      </p:sp>
      <p:sp>
        <p:nvSpPr>
          <p:cNvPr id="78" name="TrackerNumBlue 202">
            <a:extLst>
              <a:ext uri="{FF2B5EF4-FFF2-40B4-BE49-F238E27FC236}">
                <a16:creationId xmlns:a16="http://schemas.microsoft.com/office/drawing/2014/main" id="{E41BAC49-1064-4E8A-A33E-AC2AD8160713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3063137" y="3975682"/>
            <a:ext cx="137160" cy="138500"/>
          </a:xfrm>
          <a:prstGeom prst="ellipse">
            <a:avLst/>
          </a:prstGeom>
          <a:solidFill>
            <a:schemeClr val="tx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r>
              <a:rPr lang="en-US" sz="750" dirty="0">
                <a:solidFill>
                  <a:srgbClr val="FFFFFF"/>
                </a:solidFill>
                <a:latin typeface="Arial"/>
              </a:rPr>
              <a:t>17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3760B20-F0F6-4250-8277-9070785344FB}"/>
              </a:ext>
            </a:extLst>
          </p:cNvPr>
          <p:cNvSpPr txBox="1"/>
          <p:nvPr/>
        </p:nvSpPr>
        <p:spPr>
          <a:xfrm>
            <a:off x="3239397" y="3304960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b="1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Reinforcement learning to automate place-and-route in chip desig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D7ABDC2-583B-4A3B-B349-B4517AF75C13}"/>
              </a:ext>
            </a:extLst>
          </p:cNvPr>
          <p:cNvSpPr txBox="1"/>
          <p:nvPr/>
        </p:nvSpPr>
        <p:spPr>
          <a:xfrm>
            <a:off x="3239397" y="3975682"/>
            <a:ext cx="5488552" cy="13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 defTabSz="685800">
              <a:spcAft>
                <a:spcPts val="225"/>
              </a:spcAft>
              <a:buSzPct val="100000"/>
              <a:buNone/>
            </a:pPr>
            <a:r>
              <a:rPr lang="en-US" sz="900" dirty="0">
                <a:solidFill>
                  <a:srgbClr val="000000"/>
                </a:solidFill>
                <a:latin typeface="Arial"/>
                <a:sym typeface="Arial" panose="020B0604020202020204" pitchFamily="34" charset="0"/>
              </a:rPr>
              <a:t>ML-based EDA (e.g., OPC, library characterization, CMP modeling, lithography simulation)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718C2B6E-38FB-454B-B6CA-331B2E2DA7BA}"/>
              </a:ext>
            </a:extLst>
          </p:cNvPr>
          <p:cNvCxnSpPr>
            <a:cxnSpLocks/>
          </p:cNvCxnSpPr>
          <p:nvPr/>
        </p:nvCxnSpPr>
        <p:spPr>
          <a:xfrm>
            <a:off x="3063138" y="1511431"/>
            <a:ext cx="5664811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DD85B03-E2DE-4B0D-B557-57B3BE24E200}"/>
              </a:ext>
            </a:extLst>
          </p:cNvPr>
          <p:cNvCxnSpPr>
            <a:cxnSpLocks/>
          </p:cNvCxnSpPr>
          <p:nvPr/>
        </p:nvCxnSpPr>
        <p:spPr>
          <a:xfrm>
            <a:off x="3063138" y="2043653"/>
            <a:ext cx="5664811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AED345BE-4B15-47A8-AFD6-4736EFCDB56F}"/>
              </a:ext>
            </a:extLst>
          </p:cNvPr>
          <p:cNvCxnSpPr>
            <a:cxnSpLocks/>
          </p:cNvCxnSpPr>
          <p:nvPr/>
        </p:nvCxnSpPr>
        <p:spPr>
          <a:xfrm>
            <a:off x="3063138" y="2575876"/>
            <a:ext cx="5664811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FD87494-26FE-4D73-A70D-37CFE513456A}"/>
              </a:ext>
            </a:extLst>
          </p:cNvPr>
          <p:cNvCxnSpPr>
            <a:cxnSpLocks/>
          </p:cNvCxnSpPr>
          <p:nvPr/>
        </p:nvCxnSpPr>
        <p:spPr>
          <a:xfrm>
            <a:off x="3063138" y="3275779"/>
            <a:ext cx="5664811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F7D43EA5-A21D-44B4-B1D2-59F11835DFFF}"/>
              </a:ext>
            </a:extLst>
          </p:cNvPr>
          <p:cNvCxnSpPr>
            <a:cxnSpLocks/>
          </p:cNvCxnSpPr>
          <p:nvPr/>
        </p:nvCxnSpPr>
        <p:spPr>
          <a:xfrm>
            <a:off x="3063138" y="4143362"/>
            <a:ext cx="5664811" cy="0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1148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NVOLUTIONAL NEURAL NETWORKS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4953000" y="1066732"/>
            <a:ext cx="3733800" cy="30673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200150"/>
            <a:ext cx="4514850" cy="2800485"/>
          </a:xfrm>
          <a:prstGeom prst="rect">
            <a:avLst/>
          </a:prstGeom>
        </p:spPr>
      </p:pic>
      <p:sp>
        <p:nvSpPr>
          <p:cNvPr id="10" name="Rounded Rectangle 9"/>
          <p:cNvSpPr/>
          <p:nvPr/>
        </p:nvSpPr>
        <p:spPr>
          <a:xfrm>
            <a:off x="1981200" y="1196174"/>
            <a:ext cx="5029200" cy="280446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BM define :</a:t>
            </a:r>
          </a:p>
          <a:p>
            <a:r>
              <a:rPr lang="en-US" dirty="0"/>
              <a:t>Convolutional neural networks are distinguished from other neural networks by their superior performance with image, speech, or audio signal inputs. They have three main types of layers, which are:</a:t>
            </a:r>
          </a:p>
          <a:p>
            <a:r>
              <a:rPr lang="en-US" dirty="0"/>
              <a:t>    Convolutional layer</a:t>
            </a:r>
          </a:p>
          <a:p>
            <a:r>
              <a:rPr lang="en-US" dirty="0"/>
              <a:t>    Pooling layer</a:t>
            </a:r>
          </a:p>
          <a:p>
            <a:r>
              <a:rPr lang="en-US" dirty="0"/>
              <a:t>    Fully-connected (FC) layer</a:t>
            </a:r>
          </a:p>
          <a:p>
            <a:pPr algn="ctr"/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1981200" y="1200217"/>
            <a:ext cx="5029200" cy="280041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WE define:</a:t>
            </a:r>
          </a:p>
          <a:p>
            <a:pPr algn="ctr"/>
            <a:r>
              <a:rPr lang="en-US" dirty="0" smtClean="0"/>
              <a:t>CNN is a algorithm which can offer computer vision ability. The vision ability is shown on two aspect: image classify, image object det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320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3" grpId="0" animBg="1"/>
      <p:bldP spid="3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OW CNN WORK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972579" y="628650"/>
            <a:ext cx="5123421" cy="34671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972579" y="4209704"/>
            <a:ext cx="72570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ilter is the weight of each neural unit. The weight generate by training AI model.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6934200" y="628650"/>
            <a:ext cx="1752600" cy="3046961"/>
            <a:chOff x="6934200" y="628650"/>
            <a:chExt cx="1752600" cy="3046961"/>
          </a:xfrm>
        </p:grpSpPr>
        <p:sp>
          <p:nvSpPr>
            <p:cNvPr id="9" name="Rounded Rectangle 8"/>
            <p:cNvSpPr/>
            <p:nvPr/>
          </p:nvSpPr>
          <p:spPr>
            <a:xfrm>
              <a:off x="6934200" y="628650"/>
              <a:ext cx="1752600" cy="57150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 Data</a:t>
              </a:r>
              <a:endParaRPr lang="en-US" dirty="0"/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6934200" y="1847677"/>
              <a:ext cx="1752600" cy="57150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NN</a:t>
              </a:r>
              <a:endParaRPr lang="en-US" dirty="0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6934200" y="3104111"/>
              <a:ext cx="1752600" cy="57150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I-MODEL</a:t>
              </a:r>
              <a:endParaRPr lang="en-US" dirty="0"/>
            </a:p>
          </p:txBody>
        </p:sp>
        <p:sp>
          <p:nvSpPr>
            <p:cNvPr id="12" name="Down Arrow 11"/>
            <p:cNvSpPr/>
            <p:nvPr/>
          </p:nvSpPr>
          <p:spPr>
            <a:xfrm>
              <a:off x="7772400" y="1299642"/>
              <a:ext cx="76200" cy="442653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Down Arrow 12"/>
            <p:cNvSpPr/>
            <p:nvPr/>
          </p:nvSpPr>
          <p:spPr>
            <a:xfrm>
              <a:off x="7772400" y="2511742"/>
              <a:ext cx="76200" cy="442653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924800" y="1336302"/>
              <a:ext cx="685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train</a:t>
              </a:r>
              <a:endParaRPr lang="en-US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924800" y="2568893"/>
              <a:ext cx="59856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save</a:t>
              </a:r>
              <a:endParaRPr lang="en-US" dirty="0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9239" y="984193"/>
            <a:ext cx="6743700" cy="268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725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ENSORFLOW CNN COD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804972" y="487006"/>
            <a:ext cx="3896215" cy="43586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1187" y="487005"/>
            <a:ext cx="3790462" cy="43586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146" y="507662"/>
            <a:ext cx="7686677" cy="19526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972" y="2480943"/>
            <a:ext cx="7686677" cy="223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242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KYEYE OCR 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OCR - OPTICAL CHARACTER RECOGNIZE</a:t>
            </a:r>
          </a:p>
          <a:p>
            <a:endParaRPr lang="en-US" dirty="0" smtClean="0"/>
          </a:p>
          <a:p>
            <a:r>
              <a:rPr lang="en-US" dirty="0" smtClean="0"/>
              <a:t>SKYEYE OCR SYSTEM – When we do wafer accept test, I developed an OCR system, SKYEYE, to recognize coordinate of VCSEL chip.  With AI technology, SKYEYE has a 99+% baseline accuracy. The system has run for two years and offered 400K pcs image recognize service.  At performance aspect, SKYEYE has a 30 images per second throughpu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911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ZnyAgfgLTWKr7vOFR4f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9"/>
  <p:tag name="2LEVEL" val="4.5"/>
  <p:tag name="3LEVEL" val="2.25"/>
  <p:tag name="4LEVEL" val="1.12"/>
  <p:tag name="5LEVEL" val="0.56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9"/>
  <p:tag name="2LEVEL" val="4.5"/>
  <p:tag name="3LEVEL" val="2.25"/>
  <p:tag name="4LEVEL" val="1.12"/>
  <p:tag name="5LEVEL" val="0.56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9"/>
  <p:tag name="2LEVEL" val="4.5"/>
  <p:tag name="3LEVEL" val="2.25"/>
  <p:tag name="4LEVEL" val="1.12"/>
  <p:tag name="5LEVEL" val="0.56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9"/>
  <p:tag name="2LEVEL" val="4.5"/>
  <p:tag name="3LEVEL" val="2.25"/>
  <p:tag name="4LEVEL" val="1.12"/>
  <p:tag name="5LEVEL" val="0.5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f.NrIFAnmb05MwWZYPy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bUeMYzprftNd6K_ji2r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aQwRDcJjxq8_O9Yi1bD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o5HP3XffcsTGPPWUA1y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i2ykMYWSL3BRcP.hxku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fSSFTcLpNODxisOrdUu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lO24A875M44d0sPuO5p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r4nMkqlxUzJBqdslfw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7cW1vXU5iDI0XHxFnLi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xDjOhuC.6Bk4V.xmRK2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kU9PMDusn70eSMxMTWs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T4CgDVTWqmYgd42UumS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cGLf4MSWXH_yKZTN6CK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uE5infod3Nl9zHMb3rb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efp1N1f9swFXyQsvxzL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5sPflFYUcd2MBZnXBhw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St29e5ZWnHH.Wz9_F9z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k_WPOUKM_xYRgUQOW5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JsSjaQkbvpSXEvfxEsJ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3PLosJ2OMj9az6IZwy5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xqlSUkL1pZxCWAKqUNh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FKYjzwSF68hEm2ljNQH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_1eI8PwzDmBOVH0JGhC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FVpEjYdMTni5r070cMI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.0miZLima8cQ5Z_y.ay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WdO01CVGI84_haUT8JY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3Per4aVlpKKwlAbMgr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CvpSNgVT7L2HnsSawG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VHC27_khwgeDL_4GgNu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Zd698vJE9A2ZAfvFWc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ttQpLWnk2CnrClADd0h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sgMwRHTaK36Egy8xM6.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MinusSign"/>
  <p:tag name="CIRCLESTATUS" val="White"/>
  <p:tag name="NAME" val="MinusSignWhi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MinusSign"/>
  <p:tag name="CIRCLESTATUS" val="White"/>
  <p:tag name="NAME" val="MinusSignWhi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PlusSign"/>
  <p:tag name="CIRCLESTATUS" val="White"/>
  <p:tag name="NAME" val="PlusSignWhi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PlusSign"/>
  <p:tag name="CIRCLESTATUS" val="White"/>
  <p:tag name="NAME" val="PlusSignWhi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CIRCLESTATUS" val="White"/>
  <p:tag name="NAME" val="XWhi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heme/theme1.xml><?xml version="1.0" encoding="utf-8"?>
<a:theme xmlns:a="http://schemas.openxmlformats.org/drawingml/2006/main" name="Office Theme">
  <a:themeElements>
    <a:clrScheme name="IIVI">
      <a:dk1>
        <a:sysClr val="windowText" lastClr="000000"/>
      </a:dk1>
      <a:lt1>
        <a:sysClr val="window" lastClr="FFFFFF"/>
      </a:lt1>
      <a:dk2>
        <a:srgbClr val="971A1E"/>
      </a:dk2>
      <a:lt2>
        <a:srgbClr val="FFFFFF"/>
      </a:lt2>
      <a:accent1>
        <a:srgbClr val="971A1E"/>
      </a:accent1>
      <a:accent2>
        <a:srgbClr val="00629B"/>
      </a:accent2>
      <a:accent3>
        <a:srgbClr val="A5AAAD"/>
      </a:accent3>
      <a:accent4>
        <a:srgbClr val="76232F"/>
      </a:accent4>
      <a:accent5>
        <a:srgbClr val="4EC3E0"/>
      </a:accent5>
      <a:accent6>
        <a:srgbClr val="595959"/>
      </a:accent6>
      <a:hlink>
        <a:srgbClr val="003865"/>
      </a:hlink>
      <a:folHlink>
        <a:srgbClr val="4EC3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ppt/theme/theme3.xml><?xml version="1.0" encoding="utf-8"?>
<a:theme xmlns:a="http://schemas.openxmlformats.org/drawingml/2006/main" name="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ppt/theme/theme4.xml><?xml version="1.0" encoding="utf-8"?>
<a:theme xmlns:a="http://schemas.openxmlformats.org/drawingml/2006/main" name="2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0</Words>
  <Application>Microsoft Office PowerPoint</Application>
  <PresentationFormat>On-screen Show (16:9)</PresentationFormat>
  <Paragraphs>216</Paragraphs>
  <Slides>2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ＭＳ Ｐゴシック</vt:lpstr>
      <vt:lpstr>宋体</vt:lpstr>
      <vt:lpstr>Arial</vt:lpstr>
      <vt:lpstr>Calibri</vt:lpstr>
      <vt:lpstr>Georgia</vt:lpstr>
      <vt:lpstr>Segoe UI</vt:lpstr>
      <vt:lpstr>Wingdings</vt:lpstr>
      <vt:lpstr>Office Theme</vt:lpstr>
      <vt:lpstr>White</vt:lpstr>
      <vt:lpstr>1_White</vt:lpstr>
      <vt:lpstr>2_White</vt:lpstr>
      <vt:lpstr>think-cell Slide</vt:lpstr>
      <vt:lpstr>WUXI AI</vt:lpstr>
      <vt:lpstr>AGENDA</vt:lpstr>
      <vt:lpstr>AI development experienced several false starts and ‘AI winters’ before it was revived again in the last decade</vt:lpstr>
      <vt:lpstr>Is this era going to be different? Better algorithms, improved hardware, increased data availability and AI-as-a-service</vt:lpstr>
      <vt:lpstr>Across advanced industrial companies, AI used to drive ROIC improvements across the tree</vt:lpstr>
      <vt:lpstr>CONVOLUTIONAL NEURAL NETWORKS</vt:lpstr>
      <vt:lpstr>HOW CNN WORK</vt:lpstr>
      <vt:lpstr>TENSORFLOW CNN CODE</vt:lpstr>
      <vt:lpstr>SKYEYE OCR SYSTEM</vt:lpstr>
      <vt:lpstr>OCR THEORY </vt:lpstr>
      <vt:lpstr>SKYEYE IMAGE CAPTURE PROCESS</vt:lpstr>
      <vt:lpstr>SKYEYE VCSEL TYPE AI DETECT</vt:lpstr>
      <vt:lpstr>SKYEYE CHIP ID DETECT &amp; LOCK</vt:lpstr>
      <vt:lpstr>PowerPoint Presentation</vt:lpstr>
      <vt:lpstr>SKYEYE CHARACTER RECOGNIZE ACCURACY</vt:lpstr>
      <vt:lpstr>SKYEYE WEB SERVICE</vt:lpstr>
      <vt:lpstr>SKY EYE ADVANTAGE</vt:lpstr>
      <vt:lpstr>PROBE TEST DETECT</vt:lpstr>
      <vt:lpstr>AI SOLUTION: CHECK WHETHER CHIP BE TESTED 1</vt:lpstr>
      <vt:lpstr>AI SOLUTION: CHECK WHETHER CHIP BE TESTED 2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9-04T11:57:08Z</dcterms:created>
  <dcterms:modified xsi:type="dcterms:W3CDTF">2021-07-02T07:44:43Z</dcterms:modified>
</cp:coreProperties>
</file>